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2" r:id="rId5"/>
    <p:sldMasterId id="2147483684" r:id="rId6"/>
    <p:sldMasterId id="2147483678" r:id="rId7"/>
  </p:sldMasterIdLst>
  <p:notesMasterIdLst>
    <p:notesMasterId r:id="rId22"/>
  </p:notesMasterIdLst>
  <p:sldIdLst>
    <p:sldId id="256" r:id="rId8"/>
    <p:sldId id="8767" r:id="rId9"/>
    <p:sldId id="8877" r:id="rId10"/>
    <p:sldId id="8882" r:id="rId11"/>
    <p:sldId id="2147376172" r:id="rId12"/>
    <p:sldId id="2147376188" r:id="rId13"/>
    <p:sldId id="2147376189" r:id="rId14"/>
    <p:sldId id="2147376191" r:id="rId15"/>
    <p:sldId id="2147376192" r:id="rId16"/>
    <p:sldId id="2147376194" r:id="rId17"/>
    <p:sldId id="2147376193" r:id="rId18"/>
    <p:sldId id="2147376186" r:id="rId19"/>
    <p:sldId id="2147376190" r:id="rId20"/>
    <p:sldId id="8759" r:id="rId21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6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00"/>
    <a:srgbClr val="669900"/>
    <a:srgbClr val="003A70"/>
    <a:srgbClr val="EFF6DF"/>
    <a:srgbClr val="1A3838"/>
    <a:srgbClr val="B0D461"/>
    <a:srgbClr val="F9B000"/>
    <a:srgbClr val="AA112C"/>
    <a:srgbClr val="0082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EC74856-99BE-4D94-B59F-E0AE5FEE276A}" v="9" dt="2025-12-03T15:45:10.14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0" autoAdjust="0"/>
    <p:restoredTop sz="94660"/>
  </p:normalViewPr>
  <p:slideViewPr>
    <p:cSldViewPr snapToGrid="0" showGuides="1">
      <p:cViewPr>
        <p:scale>
          <a:sx n="100" d="100"/>
          <a:sy n="100" d="100"/>
        </p:scale>
        <p:origin x="612" y="318"/>
      </p:cViewPr>
      <p:guideLst>
        <p:guide orient="horz" pos="2160"/>
        <p:guide pos="386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notesMaster" Target="notesMasters/notesMaster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na Wimmerstedt" userId="7c1c70d2-ddf2-4ee6-b9c1-1d4f5fab9bbe" providerId="ADAL" clId="{1EC74856-99BE-4D94-B59F-E0AE5FEE276A}"/>
    <pc:docChg chg="undo custSel addSld modSld">
      <pc:chgData name="Anna Wimmerstedt" userId="7c1c70d2-ddf2-4ee6-b9c1-1d4f5fab9bbe" providerId="ADAL" clId="{1EC74856-99BE-4D94-B59F-E0AE5FEE276A}" dt="2025-11-28T14:25:27.616" v="902" actId="1076"/>
      <pc:docMkLst>
        <pc:docMk/>
      </pc:docMkLst>
      <pc:sldChg chg="modSp mod">
        <pc:chgData name="Anna Wimmerstedt" userId="7c1c70d2-ddf2-4ee6-b9c1-1d4f5fab9bbe" providerId="ADAL" clId="{1EC74856-99BE-4D94-B59F-E0AE5FEE276A}" dt="2025-11-28T07:40:27.237" v="20" actId="20577"/>
        <pc:sldMkLst>
          <pc:docMk/>
          <pc:sldMk cId="211789391" sldId="8882"/>
        </pc:sldMkLst>
        <pc:spChg chg="mod">
          <ac:chgData name="Anna Wimmerstedt" userId="7c1c70d2-ddf2-4ee6-b9c1-1d4f5fab9bbe" providerId="ADAL" clId="{1EC74856-99BE-4D94-B59F-E0AE5FEE276A}" dt="2025-11-28T07:40:27.237" v="20" actId="20577"/>
          <ac:spMkLst>
            <pc:docMk/>
            <pc:sldMk cId="211789391" sldId="8882"/>
            <ac:spMk id="3" creationId="{ACEB0EBC-CE9B-1930-EBBD-35DD664F82B1}"/>
          </ac:spMkLst>
        </pc:spChg>
      </pc:sldChg>
      <pc:sldChg chg="delSp modSp mod">
        <pc:chgData name="Anna Wimmerstedt" userId="7c1c70d2-ddf2-4ee6-b9c1-1d4f5fab9bbe" providerId="ADAL" clId="{1EC74856-99BE-4D94-B59F-E0AE5FEE276A}" dt="2025-11-28T07:45:44.534" v="42" actId="1076"/>
        <pc:sldMkLst>
          <pc:docMk/>
          <pc:sldMk cId="3313208592" sldId="2147376189"/>
        </pc:sldMkLst>
        <pc:spChg chg="mod">
          <ac:chgData name="Anna Wimmerstedt" userId="7c1c70d2-ddf2-4ee6-b9c1-1d4f5fab9bbe" providerId="ADAL" clId="{1EC74856-99BE-4D94-B59F-E0AE5FEE276A}" dt="2025-11-28T07:45:44.534" v="42" actId="1076"/>
          <ac:spMkLst>
            <pc:docMk/>
            <pc:sldMk cId="3313208592" sldId="2147376189"/>
            <ac:spMk id="10" creationId="{A9AB59F1-29EA-C615-BEB5-4DB97E4CC1F8}"/>
          </ac:spMkLst>
        </pc:spChg>
      </pc:sldChg>
      <pc:sldChg chg="modSp mod">
        <pc:chgData name="Anna Wimmerstedt" userId="7c1c70d2-ddf2-4ee6-b9c1-1d4f5fab9bbe" providerId="ADAL" clId="{1EC74856-99BE-4D94-B59F-E0AE5FEE276A}" dt="2025-11-28T08:33:13.833" v="587" actId="20577"/>
        <pc:sldMkLst>
          <pc:docMk/>
          <pc:sldMk cId="3448457960" sldId="2147376190"/>
        </pc:sldMkLst>
        <pc:spChg chg="mod">
          <ac:chgData name="Anna Wimmerstedt" userId="7c1c70d2-ddf2-4ee6-b9c1-1d4f5fab9bbe" providerId="ADAL" clId="{1EC74856-99BE-4D94-B59F-E0AE5FEE276A}" dt="2025-11-28T07:48:56.165" v="329" actId="20577"/>
          <ac:spMkLst>
            <pc:docMk/>
            <pc:sldMk cId="3448457960" sldId="2147376190"/>
            <ac:spMk id="5" creationId="{CC4348A8-05EA-EE09-8BA9-CA27D6DCDBBE}"/>
          </ac:spMkLst>
        </pc:spChg>
        <pc:spChg chg="mod">
          <ac:chgData name="Anna Wimmerstedt" userId="7c1c70d2-ddf2-4ee6-b9c1-1d4f5fab9bbe" providerId="ADAL" clId="{1EC74856-99BE-4D94-B59F-E0AE5FEE276A}" dt="2025-11-28T08:33:13.833" v="587" actId="20577"/>
          <ac:spMkLst>
            <pc:docMk/>
            <pc:sldMk cId="3448457960" sldId="2147376190"/>
            <ac:spMk id="6" creationId="{4DE2722C-AC5D-0618-FDB5-78A532F78C01}"/>
          </ac:spMkLst>
        </pc:spChg>
      </pc:sldChg>
      <pc:sldChg chg="addSp delSp modSp new mod">
        <pc:chgData name="Anna Wimmerstedt" userId="7c1c70d2-ddf2-4ee6-b9c1-1d4f5fab9bbe" providerId="ADAL" clId="{1EC74856-99BE-4D94-B59F-E0AE5FEE276A}" dt="2025-11-28T07:48:29.179" v="256" actId="1076"/>
        <pc:sldMkLst>
          <pc:docMk/>
          <pc:sldMk cId="1868922061" sldId="2147376191"/>
        </pc:sldMkLst>
        <pc:spChg chg="mod">
          <ac:chgData name="Anna Wimmerstedt" userId="7c1c70d2-ddf2-4ee6-b9c1-1d4f5fab9bbe" providerId="ADAL" clId="{1EC74856-99BE-4D94-B59F-E0AE5FEE276A}" dt="2025-11-28T07:48:21.695" v="254" actId="404"/>
          <ac:spMkLst>
            <pc:docMk/>
            <pc:sldMk cId="1868922061" sldId="2147376191"/>
            <ac:spMk id="2" creationId="{0CEE49EF-A5A5-8DE2-98A9-34788D5FD626}"/>
          </ac:spMkLst>
        </pc:spChg>
        <pc:spChg chg="mod">
          <ac:chgData name="Anna Wimmerstedt" userId="7c1c70d2-ddf2-4ee6-b9c1-1d4f5fab9bbe" providerId="ADAL" clId="{1EC74856-99BE-4D94-B59F-E0AE5FEE276A}" dt="2025-11-28T07:47:43.711" v="240" actId="20577"/>
          <ac:spMkLst>
            <pc:docMk/>
            <pc:sldMk cId="1868922061" sldId="2147376191"/>
            <ac:spMk id="4" creationId="{39C9163A-641D-25CB-92FC-34FDF88D0B59}"/>
          </ac:spMkLst>
        </pc:spChg>
        <pc:picChg chg="add mod">
          <ac:chgData name="Anna Wimmerstedt" userId="7c1c70d2-ddf2-4ee6-b9c1-1d4f5fab9bbe" providerId="ADAL" clId="{1EC74856-99BE-4D94-B59F-E0AE5FEE276A}" dt="2025-11-28T07:48:29.179" v="256" actId="1076"/>
          <ac:picMkLst>
            <pc:docMk/>
            <pc:sldMk cId="1868922061" sldId="2147376191"/>
            <ac:picMk id="5" creationId="{BFBB9932-5C62-1D6E-1132-32CCFC300BD0}"/>
          </ac:picMkLst>
        </pc:picChg>
      </pc:sldChg>
      <pc:sldChg chg="addSp delSp modSp new mod">
        <pc:chgData name="Anna Wimmerstedt" userId="7c1c70d2-ddf2-4ee6-b9c1-1d4f5fab9bbe" providerId="ADAL" clId="{1EC74856-99BE-4D94-B59F-E0AE5FEE276A}" dt="2025-11-28T08:42:34.200" v="669" actId="1076"/>
        <pc:sldMkLst>
          <pc:docMk/>
          <pc:sldMk cId="1773007881" sldId="2147376192"/>
        </pc:sldMkLst>
        <pc:spChg chg="mod">
          <ac:chgData name="Anna Wimmerstedt" userId="7c1c70d2-ddf2-4ee6-b9c1-1d4f5fab9bbe" providerId="ADAL" clId="{1EC74856-99BE-4D94-B59F-E0AE5FEE276A}" dt="2025-11-28T08:42:22.055" v="665" actId="14100"/>
          <ac:spMkLst>
            <pc:docMk/>
            <pc:sldMk cId="1773007881" sldId="2147376192"/>
            <ac:spMk id="2" creationId="{87068FC0-F79C-2F54-7DD9-48D331B345EC}"/>
          </ac:spMkLst>
        </pc:spChg>
        <pc:picChg chg="add mod">
          <ac:chgData name="Anna Wimmerstedt" userId="7c1c70d2-ddf2-4ee6-b9c1-1d4f5fab9bbe" providerId="ADAL" clId="{1EC74856-99BE-4D94-B59F-E0AE5FEE276A}" dt="2025-11-28T08:42:34.200" v="669" actId="1076"/>
          <ac:picMkLst>
            <pc:docMk/>
            <pc:sldMk cId="1773007881" sldId="2147376192"/>
            <ac:picMk id="5" creationId="{C7CEA972-44B4-1794-AE82-38D912B46D8D}"/>
          </ac:picMkLst>
        </pc:picChg>
      </pc:sldChg>
      <pc:sldChg chg="addSp delSp modSp new mod modClrScheme chgLayout">
        <pc:chgData name="Anna Wimmerstedt" userId="7c1c70d2-ddf2-4ee6-b9c1-1d4f5fab9bbe" providerId="ADAL" clId="{1EC74856-99BE-4D94-B59F-E0AE5FEE276A}" dt="2025-11-28T14:25:27.616" v="902" actId="1076"/>
        <pc:sldMkLst>
          <pc:docMk/>
          <pc:sldMk cId="2044018734" sldId="2147376193"/>
        </pc:sldMkLst>
        <pc:spChg chg="mod ord">
          <ac:chgData name="Anna Wimmerstedt" userId="7c1c70d2-ddf2-4ee6-b9c1-1d4f5fab9bbe" providerId="ADAL" clId="{1EC74856-99BE-4D94-B59F-E0AE5FEE276A}" dt="2025-11-28T08:42:53.652" v="701" actId="700"/>
          <ac:spMkLst>
            <pc:docMk/>
            <pc:sldMk cId="2044018734" sldId="2147376193"/>
            <ac:spMk id="2" creationId="{A6F53E1E-6975-F81F-BDE4-8D42EBDF020F}"/>
          </ac:spMkLst>
        </pc:spChg>
        <pc:spChg chg="add mod ord">
          <ac:chgData name="Anna Wimmerstedt" userId="7c1c70d2-ddf2-4ee6-b9c1-1d4f5fab9bbe" providerId="ADAL" clId="{1EC74856-99BE-4D94-B59F-E0AE5FEE276A}" dt="2025-11-28T08:42:59.696" v="722" actId="20577"/>
          <ac:spMkLst>
            <pc:docMk/>
            <pc:sldMk cId="2044018734" sldId="2147376193"/>
            <ac:spMk id="6" creationId="{F682D589-1171-11F1-28F4-B4A48E05825E}"/>
          </ac:spMkLst>
        </pc:spChg>
        <pc:spChg chg="add mod ord">
          <ac:chgData name="Anna Wimmerstedt" userId="7c1c70d2-ddf2-4ee6-b9c1-1d4f5fab9bbe" providerId="ADAL" clId="{1EC74856-99BE-4D94-B59F-E0AE5FEE276A}" dt="2025-11-28T08:47:23.301" v="865" actId="20577"/>
          <ac:spMkLst>
            <pc:docMk/>
            <pc:sldMk cId="2044018734" sldId="2147376193"/>
            <ac:spMk id="8" creationId="{5EAB8BE6-DB22-0AA3-DAE4-058D1BA32ECB}"/>
          </ac:spMkLst>
        </pc:spChg>
        <pc:picChg chg="add mod modCrop">
          <ac:chgData name="Anna Wimmerstedt" userId="7c1c70d2-ddf2-4ee6-b9c1-1d4f5fab9bbe" providerId="ADAL" clId="{1EC74856-99BE-4D94-B59F-E0AE5FEE276A}" dt="2025-11-28T08:47:15.212" v="837" actId="1076"/>
          <ac:picMkLst>
            <pc:docMk/>
            <pc:sldMk cId="2044018734" sldId="2147376193"/>
            <ac:picMk id="10" creationId="{B254F2CF-C7B3-05B6-76CE-ADC0E69420E9}"/>
          </ac:picMkLst>
        </pc:picChg>
        <pc:picChg chg="add mod ord modCrop">
          <ac:chgData name="Anna Wimmerstedt" userId="7c1c70d2-ddf2-4ee6-b9c1-1d4f5fab9bbe" providerId="ADAL" clId="{1EC74856-99BE-4D94-B59F-E0AE5FEE276A}" dt="2025-11-28T14:25:27.616" v="902" actId="1076"/>
          <ac:picMkLst>
            <pc:docMk/>
            <pc:sldMk cId="2044018734" sldId="2147376193"/>
            <ac:picMk id="11" creationId="{4F951975-C0F5-1004-C758-67FE84A140EE}"/>
          </ac:picMkLst>
        </pc:picChg>
        <pc:picChg chg="add mod modCrop">
          <ac:chgData name="Anna Wimmerstedt" userId="7c1c70d2-ddf2-4ee6-b9c1-1d4f5fab9bbe" providerId="ADAL" clId="{1EC74856-99BE-4D94-B59F-E0AE5FEE276A}" dt="2025-11-28T08:48:43.842" v="899" actId="1076"/>
          <ac:picMkLst>
            <pc:docMk/>
            <pc:sldMk cId="2044018734" sldId="2147376193"/>
            <ac:picMk id="13" creationId="{2C964102-667F-D571-253D-4397422E313B}"/>
          </ac:picMkLst>
        </pc:picChg>
        <pc:picChg chg="add mod modCrop">
          <ac:chgData name="Anna Wimmerstedt" userId="7c1c70d2-ddf2-4ee6-b9c1-1d4f5fab9bbe" providerId="ADAL" clId="{1EC74856-99BE-4D94-B59F-E0AE5FEE276A}" dt="2025-11-28T08:48:45.346" v="900" actId="1076"/>
          <ac:picMkLst>
            <pc:docMk/>
            <pc:sldMk cId="2044018734" sldId="2147376193"/>
            <ac:picMk id="14" creationId="{E2453DFD-3C15-1D18-B719-93000F7C7228}"/>
          </ac:picMkLst>
        </pc:picChg>
      </pc:sldChg>
      <pc:sldChg chg="modSp new mod">
        <pc:chgData name="Anna Wimmerstedt" userId="7c1c70d2-ddf2-4ee6-b9c1-1d4f5fab9bbe" providerId="ADAL" clId="{1EC74856-99BE-4D94-B59F-E0AE5FEE276A}" dt="2025-11-28T08:47:00.596" v="836" actId="20577"/>
        <pc:sldMkLst>
          <pc:docMk/>
          <pc:sldMk cId="4245440082" sldId="2147376194"/>
        </pc:sldMkLst>
        <pc:spChg chg="mod">
          <ac:chgData name="Anna Wimmerstedt" userId="7c1c70d2-ddf2-4ee6-b9c1-1d4f5fab9bbe" providerId="ADAL" clId="{1EC74856-99BE-4D94-B59F-E0AE5FEE276A}" dt="2025-11-28T08:47:00.596" v="836" actId="20577"/>
          <ac:spMkLst>
            <pc:docMk/>
            <pc:sldMk cId="4245440082" sldId="2147376194"/>
            <ac:spMk id="2" creationId="{D3ED89A0-C02C-C564-7FED-212DD96EBF4B}"/>
          </ac:spMkLst>
        </pc:spChg>
      </pc:sldChg>
    </pc:docChg>
  </pc:docChgLst>
  <pc:docChgLst>
    <pc:chgData name="Anna Wimmerstedt" userId="7c1c70d2-ddf2-4ee6-b9c1-1d4f5fab9bbe" providerId="ADAL" clId="{0445FD60-53FF-498A-8CDA-861DB3884179}"/>
    <pc:docChg chg="custSel modSld">
      <pc:chgData name="Anna Wimmerstedt" userId="7c1c70d2-ddf2-4ee6-b9c1-1d4f5fab9bbe" providerId="ADAL" clId="{0445FD60-53FF-498A-8CDA-861DB3884179}" dt="2025-12-03T15:49:30.869" v="133" actId="1076"/>
      <pc:docMkLst>
        <pc:docMk/>
      </pc:docMkLst>
      <pc:sldChg chg="modSp mod">
        <pc:chgData name="Anna Wimmerstedt" userId="7c1c70d2-ddf2-4ee6-b9c1-1d4f5fab9bbe" providerId="ADAL" clId="{0445FD60-53FF-498A-8CDA-861DB3884179}" dt="2025-12-03T15:49:30.869" v="133" actId="1076"/>
        <pc:sldMkLst>
          <pc:docMk/>
          <pc:sldMk cId="3747339589" sldId="2147376186"/>
        </pc:sldMkLst>
        <pc:spChg chg="mod">
          <ac:chgData name="Anna Wimmerstedt" userId="7c1c70d2-ddf2-4ee6-b9c1-1d4f5fab9bbe" providerId="ADAL" clId="{0445FD60-53FF-498A-8CDA-861DB3884179}" dt="2025-12-03T15:49:05.990" v="131" actId="1076"/>
          <ac:spMkLst>
            <pc:docMk/>
            <pc:sldMk cId="3747339589" sldId="2147376186"/>
            <ac:spMk id="9" creationId="{786C3733-BBF7-D0AC-BF5E-625C9C1BDB0D}"/>
          </ac:spMkLst>
        </pc:spChg>
        <pc:spChg chg="mod">
          <ac:chgData name="Anna Wimmerstedt" userId="7c1c70d2-ddf2-4ee6-b9c1-1d4f5fab9bbe" providerId="ADAL" clId="{0445FD60-53FF-498A-8CDA-861DB3884179}" dt="2025-12-03T15:49:30.869" v="133" actId="1076"/>
          <ac:spMkLst>
            <pc:docMk/>
            <pc:sldMk cId="3747339589" sldId="2147376186"/>
            <ac:spMk id="13" creationId="{066AD844-FB37-586D-1170-6C927C0A2565}"/>
          </ac:spMkLst>
        </pc:spChg>
      </pc:sldChg>
      <pc:sldChg chg="modSp mod">
        <pc:chgData name="Anna Wimmerstedt" userId="7c1c70d2-ddf2-4ee6-b9c1-1d4f5fab9bbe" providerId="ADAL" clId="{0445FD60-53FF-498A-8CDA-861DB3884179}" dt="2025-12-03T15:48:57.462" v="130" actId="1076"/>
        <pc:sldMkLst>
          <pc:docMk/>
          <pc:sldMk cId="1773007881" sldId="2147376192"/>
        </pc:sldMkLst>
        <pc:spChg chg="mod">
          <ac:chgData name="Anna Wimmerstedt" userId="7c1c70d2-ddf2-4ee6-b9c1-1d4f5fab9bbe" providerId="ADAL" clId="{0445FD60-53FF-498A-8CDA-861DB3884179}" dt="2025-12-03T15:44:49.495" v="9" actId="1076"/>
          <ac:spMkLst>
            <pc:docMk/>
            <pc:sldMk cId="1773007881" sldId="2147376192"/>
            <ac:spMk id="2" creationId="{87068FC0-F79C-2F54-7DD9-48D331B345EC}"/>
          </ac:spMkLst>
        </pc:spChg>
        <pc:picChg chg="mod modCrop">
          <ac:chgData name="Anna Wimmerstedt" userId="7c1c70d2-ddf2-4ee6-b9c1-1d4f5fab9bbe" providerId="ADAL" clId="{0445FD60-53FF-498A-8CDA-861DB3884179}" dt="2025-12-03T15:48:57.462" v="130" actId="1076"/>
          <ac:picMkLst>
            <pc:docMk/>
            <pc:sldMk cId="1773007881" sldId="2147376192"/>
            <ac:picMk id="5" creationId="{C7CEA972-44B4-1794-AE82-38D912B46D8D}"/>
          </ac:picMkLst>
        </pc:picChg>
      </pc:sldChg>
      <pc:sldChg chg="addSp delSp modSp mod">
        <pc:chgData name="Anna Wimmerstedt" userId="7c1c70d2-ddf2-4ee6-b9c1-1d4f5fab9bbe" providerId="ADAL" clId="{0445FD60-53FF-498A-8CDA-861DB3884179}" dt="2025-12-03T15:47:47.959" v="121" actId="1076"/>
        <pc:sldMkLst>
          <pc:docMk/>
          <pc:sldMk cId="2044018734" sldId="2147376193"/>
        </pc:sldMkLst>
        <pc:spChg chg="mod">
          <ac:chgData name="Anna Wimmerstedt" userId="7c1c70d2-ddf2-4ee6-b9c1-1d4f5fab9bbe" providerId="ADAL" clId="{0445FD60-53FF-498A-8CDA-861DB3884179}" dt="2025-12-03T15:47:38.550" v="108" actId="1076"/>
          <ac:spMkLst>
            <pc:docMk/>
            <pc:sldMk cId="2044018734" sldId="2147376193"/>
            <ac:spMk id="6" creationId="{F682D589-1171-11F1-28F4-B4A48E05825E}"/>
          </ac:spMkLst>
        </pc:spChg>
        <pc:spChg chg="mod">
          <ac:chgData name="Anna Wimmerstedt" userId="7c1c70d2-ddf2-4ee6-b9c1-1d4f5fab9bbe" providerId="ADAL" clId="{0445FD60-53FF-498A-8CDA-861DB3884179}" dt="2025-12-03T15:47:44.219" v="120" actId="1036"/>
          <ac:spMkLst>
            <pc:docMk/>
            <pc:sldMk cId="2044018734" sldId="2147376193"/>
            <ac:spMk id="8" creationId="{5EAB8BE6-DB22-0AA3-DAE4-058D1BA32ECB}"/>
          </ac:spMkLst>
        </pc:spChg>
        <pc:picChg chg="add mod modCrop">
          <ac:chgData name="Anna Wimmerstedt" userId="7c1c70d2-ddf2-4ee6-b9c1-1d4f5fab9bbe" providerId="ADAL" clId="{0445FD60-53FF-498A-8CDA-861DB3884179}" dt="2025-12-03T15:47:44.219" v="120" actId="1036"/>
          <ac:picMkLst>
            <pc:docMk/>
            <pc:sldMk cId="2044018734" sldId="2147376193"/>
            <ac:picMk id="3" creationId="{DC48AFBE-1B1D-6F68-8655-224D19A9FC33}"/>
          </ac:picMkLst>
        </pc:picChg>
        <pc:picChg chg="mod">
          <ac:chgData name="Anna Wimmerstedt" userId="7c1c70d2-ddf2-4ee6-b9c1-1d4f5fab9bbe" providerId="ADAL" clId="{0445FD60-53FF-498A-8CDA-861DB3884179}" dt="2025-12-03T15:47:38.550" v="108" actId="1076"/>
          <ac:picMkLst>
            <pc:docMk/>
            <pc:sldMk cId="2044018734" sldId="2147376193"/>
            <ac:picMk id="10" creationId="{B254F2CF-C7B3-05B6-76CE-ADC0E69420E9}"/>
          </ac:picMkLst>
        </pc:picChg>
        <pc:picChg chg="mod modCrop">
          <ac:chgData name="Anna Wimmerstedt" userId="7c1c70d2-ddf2-4ee6-b9c1-1d4f5fab9bbe" providerId="ADAL" clId="{0445FD60-53FF-498A-8CDA-861DB3884179}" dt="2025-12-03T15:47:44.219" v="120" actId="1036"/>
          <ac:picMkLst>
            <pc:docMk/>
            <pc:sldMk cId="2044018734" sldId="2147376193"/>
            <ac:picMk id="11" creationId="{4F951975-C0F5-1004-C758-67FE84A140EE}"/>
          </ac:picMkLst>
        </pc:picChg>
        <pc:picChg chg="del mod">
          <ac:chgData name="Anna Wimmerstedt" userId="7c1c70d2-ddf2-4ee6-b9c1-1d4f5fab9bbe" providerId="ADAL" clId="{0445FD60-53FF-498A-8CDA-861DB3884179}" dt="2025-12-03T15:46:01.030" v="33" actId="478"/>
          <ac:picMkLst>
            <pc:docMk/>
            <pc:sldMk cId="2044018734" sldId="2147376193"/>
            <ac:picMk id="12" creationId="{5771E96A-E936-1A3E-8E07-965FBD7EF8CF}"/>
          </ac:picMkLst>
        </pc:picChg>
        <pc:picChg chg="mod">
          <ac:chgData name="Anna Wimmerstedt" userId="7c1c70d2-ddf2-4ee6-b9c1-1d4f5fab9bbe" providerId="ADAL" clId="{0445FD60-53FF-498A-8CDA-861DB3884179}" dt="2025-12-03T15:47:44.219" v="120" actId="1036"/>
          <ac:picMkLst>
            <pc:docMk/>
            <pc:sldMk cId="2044018734" sldId="2147376193"/>
            <ac:picMk id="13" creationId="{2C964102-667F-D571-253D-4397422E313B}"/>
          </ac:picMkLst>
        </pc:picChg>
        <pc:picChg chg="mod">
          <ac:chgData name="Anna Wimmerstedt" userId="7c1c70d2-ddf2-4ee6-b9c1-1d4f5fab9bbe" providerId="ADAL" clId="{0445FD60-53FF-498A-8CDA-861DB3884179}" dt="2025-12-03T15:47:47.959" v="121" actId="1076"/>
          <ac:picMkLst>
            <pc:docMk/>
            <pc:sldMk cId="2044018734" sldId="2147376193"/>
            <ac:picMk id="14" creationId="{E2453DFD-3C15-1D18-B719-93000F7C7228}"/>
          </ac:picMkLst>
        </pc:picChg>
      </pc:sldChg>
      <pc:sldChg chg="addSp delSp modSp mod modClrScheme chgLayout">
        <pc:chgData name="Anna Wimmerstedt" userId="7c1c70d2-ddf2-4ee6-b9c1-1d4f5fab9bbe" providerId="ADAL" clId="{0445FD60-53FF-498A-8CDA-861DB3884179}" dt="2025-12-03T15:48:43.223" v="127" actId="1076"/>
        <pc:sldMkLst>
          <pc:docMk/>
          <pc:sldMk cId="4245440082" sldId="2147376194"/>
        </pc:sldMkLst>
        <pc:spChg chg="mod">
          <ac:chgData name="Anna Wimmerstedt" userId="7c1c70d2-ddf2-4ee6-b9c1-1d4f5fab9bbe" providerId="ADAL" clId="{0445FD60-53FF-498A-8CDA-861DB3884179}" dt="2025-12-03T15:48:35.582" v="124" actId="26606"/>
          <ac:spMkLst>
            <pc:docMk/>
            <pc:sldMk cId="4245440082" sldId="2147376194"/>
            <ac:spMk id="2" creationId="{D3ED89A0-C02C-C564-7FED-212DD96EBF4B}"/>
          </ac:spMkLst>
        </pc:spChg>
        <pc:spChg chg="del">
          <ac:chgData name="Anna Wimmerstedt" userId="7c1c70d2-ddf2-4ee6-b9c1-1d4f5fab9bbe" providerId="ADAL" clId="{0445FD60-53FF-498A-8CDA-861DB3884179}" dt="2025-12-03T15:48:32.191" v="122" actId="478"/>
          <ac:spMkLst>
            <pc:docMk/>
            <pc:sldMk cId="4245440082" sldId="2147376194"/>
            <ac:spMk id="3" creationId="{ADFE63F0-03F0-CE78-FA59-E8CB218F238C}"/>
          </ac:spMkLst>
        </pc:spChg>
        <pc:spChg chg="del">
          <ac:chgData name="Anna Wimmerstedt" userId="7c1c70d2-ddf2-4ee6-b9c1-1d4f5fab9bbe" providerId="ADAL" clId="{0445FD60-53FF-498A-8CDA-861DB3884179}" dt="2025-12-03T15:48:32.191" v="122" actId="478"/>
          <ac:spMkLst>
            <pc:docMk/>
            <pc:sldMk cId="4245440082" sldId="2147376194"/>
            <ac:spMk id="4" creationId="{3DDF882E-1CB6-5A2B-306A-1E5B71852992}"/>
          </ac:spMkLst>
        </pc:spChg>
        <pc:picChg chg="add mod">
          <ac:chgData name="Anna Wimmerstedt" userId="7c1c70d2-ddf2-4ee6-b9c1-1d4f5fab9bbe" providerId="ADAL" clId="{0445FD60-53FF-498A-8CDA-861DB3884179}" dt="2025-12-03T15:48:43.223" v="127" actId="1076"/>
          <ac:picMkLst>
            <pc:docMk/>
            <pc:sldMk cId="4245440082" sldId="2147376194"/>
            <ac:picMk id="6" creationId="{F60C09A2-032A-1D9D-2F2F-5E21D8258A2E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B88DCE-16E4-43FC-9191-9EA4CE6A6888}" type="datetimeFigureOut">
              <a:rPr lang="sv-SE" smtClean="0"/>
              <a:t>2025-12-03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AD2F43-4037-4CD2-AC99-9B92FE2ABC3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219658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7729A5-F0DE-C5FF-0BFE-751E70B919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>
            <a:extLst>
              <a:ext uri="{FF2B5EF4-FFF2-40B4-BE49-F238E27FC236}">
                <a16:creationId xmlns:a16="http://schemas.microsoft.com/office/drawing/2014/main" id="{68725BA9-C149-C609-78B8-8ABD716004D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>
            <a:extLst>
              <a:ext uri="{FF2B5EF4-FFF2-40B4-BE49-F238E27FC236}">
                <a16:creationId xmlns:a16="http://schemas.microsoft.com/office/drawing/2014/main" id="{9C6E9335-CB48-883D-3C01-71A0ADC272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EE770C7F-1203-01AF-B483-25F099374B6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5D9F8A-08DC-9F42-AD6F-C500053F5DDE}" type="slidenum">
              <a:rPr lang="sv-SE" smtClean="0"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62155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t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8">
            <a:extLst>
              <a:ext uri="{FF2B5EF4-FFF2-40B4-BE49-F238E27FC236}">
                <a16:creationId xmlns:a16="http://schemas.microsoft.com/office/drawing/2014/main" id="{C858E219-4E6D-4932-AA5D-6A3481107EA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1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09" t="28708"/>
          <a:stretch/>
        </p:blipFill>
        <p:spPr>
          <a:xfrm>
            <a:off x="-1" y="0"/>
            <a:ext cx="4121077" cy="3428998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7B7BA672-CB4E-4C09-A9A5-C5188FAC78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255644" y="2493628"/>
            <a:ext cx="5599074" cy="1311128"/>
          </a:xfrm>
        </p:spPr>
        <p:txBody>
          <a:bodyPr anchor="b">
            <a:noAutofit/>
          </a:bodyPr>
          <a:lstStyle>
            <a:lvl1pPr algn="l">
              <a:lnSpc>
                <a:spcPct val="100000"/>
              </a:lnSpc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Rubrik på en eller </a:t>
            </a:r>
            <a:br>
              <a:rPr lang="sv-SE" dirty="0"/>
            </a:br>
            <a:r>
              <a:rPr lang="sv-SE" dirty="0"/>
              <a:t>två rader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47CDCF15-ABC8-4682-83AF-D8634F151B6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55645" y="3804757"/>
            <a:ext cx="5599074" cy="645902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Underrubrik/Namn, Datu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96C12B1-FAC5-408C-938E-5A34ADECC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61A35B-5759-402D-A031-2298209AB0E2}" type="datetimeFigureOut">
              <a:rPr lang="sv-SE" smtClean="0"/>
              <a:t>2025-12-03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2AF2A56-066C-474D-9C57-F10EE75EA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B080D49-24A8-48AD-B084-47F2DB775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C95FCE1-8E5F-4560-B29E-7FB78EB7A839}" type="slidenum">
              <a:rPr lang="sv-SE" smtClean="0"/>
              <a:t>‹#›</a:t>
            </a:fld>
            <a:endParaRPr lang="sv-SE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C45BB37F-78FC-4AA5-BA09-60B3473C57A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8872" y="6056300"/>
            <a:ext cx="1667528" cy="482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4113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BF7BF05E-0759-41B0-A771-97D723EF6EC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180860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vsl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8302B766-1A21-4681-B97B-01C97262C00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B710450C-1CB8-48CB-BBC9-7DC124B221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61A35B-5759-402D-A031-2298209AB0E2}" type="datetimeFigureOut">
              <a:rPr lang="sv-SE" smtClean="0"/>
              <a:t>2025-12-03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E466EFA4-20AE-4AD4-B435-6B0C7A76D4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07F53102-507D-4A65-80DF-48F934CE29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C95FCE1-8E5F-4560-B29E-7FB78EB7A839}" type="slidenum">
              <a:rPr lang="sv-SE" smtClean="0"/>
              <a:t>‹#›</a:t>
            </a:fld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01505DD5-2D9F-4AA5-8E4B-961FE767EB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4713" y="2898400"/>
            <a:ext cx="3422574" cy="990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36575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extsida - vänsterställd - lju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4">
            <a:extLst>
              <a:ext uri="{FF2B5EF4-FFF2-40B4-BE49-F238E27FC236}">
                <a16:creationId xmlns:a16="http://schemas.microsoft.com/office/drawing/2014/main" id="{E88FCE44-569B-4516-AC9B-E716D0A853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90029" y="410308"/>
            <a:ext cx="644770" cy="644770"/>
          </a:xfrm>
          <a:prstGeom prst="rect">
            <a:avLst/>
          </a:prstGeom>
        </p:spPr>
      </p:pic>
      <p:sp>
        <p:nvSpPr>
          <p:cNvPr id="5" name="Rubrik 4">
            <a:extLst>
              <a:ext uri="{FF2B5EF4-FFF2-40B4-BE49-F238E27FC236}">
                <a16:creationId xmlns:a16="http://schemas.microsoft.com/office/drawing/2014/main" id="{E1951109-5FB7-4F36-A460-E49EC57AE3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26123"/>
            <a:ext cx="5550877" cy="1195753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BDA6AFB2-F0E1-4AE4-BEB2-720267B4963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2121877"/>
            <a:ext cx="5550877" cy="380999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2" name="Platshållare för innehåll 2">
            <a:extLst>
              <a:ext uri="{FF2B5EF4-FFF2-40B4-BE49-F238E27FC236}">
                <a16:creationId xmlns:a16="http://schemas.microsoft.com/office/drawing/2014/main" id="{83850F26-D311-40B9-110E-92496299915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518275" y="1239982"/>
            <a:ext cx="5202238" cy="4301836"/>
          </a:xfrm>
        </p:spPr>
        <p:txBody>
          <a:bodyPr/>
          <a:lstStyle/>
          <a:p>
            <a:pPr lvl="0"/>
            <a:r>
              <a:rPr lang="sv-SE"/>
              <a:t>Klicka här för att lägga till bild</a:t>
            </a:r>
            <a:endParaRPr lang="en-GB"/>
          </a:p>
        </p:txBody>
      </p:sp>
      <p:sp>
        <p:nvSpPr>
          <p:cNvPr id="11" name="Platshållare för innehåll 10">
            <a:extLst>
              <a:ext uri="{FF2B5EF4-FFF2-40B4-BE49-F238E27FC236}">
                <a16:creationId xmlns:a16="http://schemas.microsoft.com/office/drawing/2014/main" id="{AC8936CA-1659-1615-7C15-F38CA399FCE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518275" y="5726721"/>
            <a:ext cx="5202238" cy="205155"/>
          </a:xfrm>
        </p:spPr>
        <p:txBody>
          <a:bodyPr/>
          <a:lstStyle>
            <a:lvl1pPr marL="0" indent="0">
              <a:buFontTx/>
              <a:buNone/>
              <a:defRPr sz="1000" b="0" i="0">
                <a:latin typeface="Trebuchet MS" panose="020B0703020202090204" pitchFamily="34" charset="0"/>
              </a:defRPr>
            </a:lvl1pPr>
            <a:lvl2pPr marL="180000" indent="0">
              <a:buFontTx/>
              <a:buNone/>
              <a:defRPr sz="1000" b="0" i="0">
                <a:latin typeface="Trebuchet MS" panose="020B0703020202090204" pitchFamily="34" charset="0"/>
              </a:defRPr>
            </a:lvl2pPr>
            <a:lvl3pPr marL="360000" indent="0">
              <a:buFontTx/>
              <a:buNone/>
              <a:defRPr sz="1000" b="0" i="0">
                <a:latin typeface="Trebuchet MS" panose="020B0703020202090204" pitchFamily="34" charset="0"/>
              </a:defRPr>
            </a:lvl3pPr>
            <a:lvl4pPr marL="540725" indent="0">
              <a:buFontTx/>
              <a:buNone/>
              <a:defRPr sz="1000" b="0" i="0">
                <a:latin typeface="Trebuchet MS" panose="020B0703020202090204" pitchFamily="34" charset="0"/>
              </a:defRPr>
            </a:lvl4pPr>
            <a:lvl5pPr marL="720000" indent="0">
              <a:buFontTx/>
              <a:buNone/>
              <a:defRPr sz="1000" b="0" i="0">
                <a:latin typeface="Trebuchet MS" panose="020B0703020202090204" pitchFamily="34" charset="0"/>
              </a:defRPr>
            </a:lvl5pPr>
          </a:lstStyle>
          <a:p>
            <a:pPr lvl="0"/>
            <a:r>
              <a:rPr lang="sv-SE"/>
              <a:t>Klicka här för att lägga till bildbyl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373761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5D030B9-2D5D-4145-9A31-E6F09FE79D3D}" type="slidenum">
              <a:rPr lang="sv-SE"/>
              <a:pPr/>
              <a:t>‹#›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/>
              <a:t>2023-04-17</a:t>
            </a:r>
          </a:p>
        </p:txBody>
      </p:sp>
    </p:spTree>
    <p:extLst>
      <p:ext uri="{BB962C8B-B14F-4D97-AF65-F5344CB8AC3E}">
        <p14:creationId xmlns:p14="http://schemas.microsoft.com/office/powerpoint/2010/main" val="15949023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sida - vänsterställd - lju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4">
            <a:extLst>
              <a:ext uri="{FF2B5EF4-FFF2-40B4-BE49-F238E27FC236}">
                <a16:creationId xmlns:a16="http://schemas.microsoft.com/office/drawing/2014/main" id="{E88FCE44-569B-4516-AC9B-E716D0A853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90029" y="410308"/>
            <a:ext cx="644770" cy="644770"/>
          </a:xfrm>
          <a:prstGeom prst="rect">
            <a:avLst/>
          </a:prstGeom>
        </p:spPr>
      </p:pic>
      <p:sp>
        <p:nvSpPr>
          <p:cNvPr id="5" name="Rubrik 4">
            <a:extLst>
              <a:ext uri="{FF2B5EF4-FFF2-40B4-BE49-F238E27FC236}">
                <a16:creationId xmlns:a16="http://schemas.microsoft.com/office/drawing/2014/main" id="{E1951109-5FB7-4F36-A460-E49EC57AE3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26123"/>
            <a:ext cx="5550877" cy="1195753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BDA6AFB2-F0E1-4AE4-BEB2-720267B4963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2121877"/>
            <a:ext cx="5550877" cy="380999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2139138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tar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8">
            <a:extLst>
              <a:ext uri="{FF2B5EF4-FFF2-40B4-BE49-F238E27FC236}">
                <a16:creationId xmlns:a16="http://schemas.microsoft.com/office/drawing/2014/main" id="{C858E219-4E6D-4932-AA5D-6A3481107EA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1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09" t="28708"/>
          <a:stretch/>
        </p:blipFill>
        <p:spPr>
          <a:xfrm>
            <a:off x="-1" y="0"/>
            <a:ext cx="4121077" cy="3428998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7B7BA672-CB4E-4C09-A9A5-C5188FAC78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255644" y="2493628"/>
            <a:ext cx="5599074" cy="1311128"/>
          </a:xfrm>
        </p:spPr>
        <p:txBody>
          <a:bodyPr anchor="b">
            <a:noAutofit/>
          </a:bodyPr>
          <a:lstStyle>
            <a:lvl1pPr algn="l">
              <a:lnSpc>
                <a:spcPct val="100000"/>
              </a:lnSpc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Rubrik på en eller </a:t>
            </a:r>
            <a:br>
              <a:rPr lang="sv-SE" dirty="0"/>
            </a:br>
            <a:r>
              <a:rPr lang="sv-SE" dirty="0"/>
              <a:t>två rader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47CDCF15-ABC8-4682-83AF-D8634F151B6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55645" y="3804757"/>
            <a:ext cx="5599074" cy="645902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Underrubrik/Namn, Datu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96C12B1-FAC5-408C-938E-5A34ADECC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6AD9C4-35A3-4D7A-9B19-F30406AB6CAC}" type="datetimeFigureOut">
              <a:rPr lang="sv-SE" smtClean="0"/>
              <a:t>2025-12-03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2AF2A56-066C-474D-9C57-F10EE75EA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B080D49-24A8-48AD-B084-47F2DB775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43B2B7-BEA8-4334-A326-592BBB640B02}" type="slidenum">
              <a:rPr lang="sv-SE" smtClean="0"/>
              <a:t>‹#›</a:t>
            </a:fld>
            <a:endParaRPr lang="sv-SE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C45BB37F-78FC-4AA5-BA09-60B3473C57A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8872" y="6056300"/>
            <a:ext cx="1667528" cy="482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15706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vsnit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B7BA672-CB4E-4C09-A9A5-C5188FAC78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255644" y="2494800"/>
            <a:ext cx="5599074" cy="1311128"/>
          </a:xfrm>
        </p:spPr>
        <p:txBody>
          <a:bodyPr anchor="b">
            <a:noAutofit/>
          </a:bodyPr>
          <a:lstStyle>
            <a:lvl1pPr algn="l">
              <a:lnSpc>
                <a:spcPct val="100000"/>
              </a:lnSpc>
              <a:defRPr sz="4400" b="1">
                <a:solidFill>
                  <a:schemeClr val="tx2"/>
                </a:solidFill>
              </a:defRPr>
            </a:lvl1pPr>
          </a:lstStyle>
          <a:p>
            <a:r>
              <a:rPr lang="sv-SE" dirty="0"/>
              <a:t>Kapitelrubrik på en eller två rader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96C12B1-FAC5-408C-938E-5A34ADECC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AD9C4-35A3-4D7A-9B19-F30406AB6CAC}" type="datetimeFigureOut">
              <a:rPr lang="sv-SE" smtClean="0"/>
              <a:t>2025-12-03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2AF2A56-066C-474D-9C57-F10EE75EA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B080D49-24A8-48AD-B084-47F2DB775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3B2B7-BEA8-4334-A326-592BBB640B02}" type="slidenum">
              <a:rPr lang="sv-SE" smtClean="0"/>
              <a:t>‹#›</a:t>
            </a:fld>
            <a:endParaRPr lang="sv-SE"/>
          </a:p>
        </p:txBody>
      </p:sp>
      <p:sp>
        <p:nvSpPr>
          <p:cNvPr id="11" name="Underrubrik 2">
            <a:extLst>
              <a:ext uri="{FF2B5EF4-FFF2-40B4-BE49-F238E27FC236}">
                <a16:creationId xmlns:a16="http://schemas.microsoft.com/office/drawing/2014/main" id="{4E603FF1-A2AA-4DFA-A81C-56517907015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55645" y="3804757"/>
            <a:ext cx="5599074" cy="645902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Underrubrik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4654C601-3316-4300-8504-A56E1410142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33" t="28855"/>
          <a:stretch/>
        </p:blipFill>
        <p:spPr>
          <a:xfrm>
            <a:off x="-1" y="0"/>
            <a:ext cx="4121077" cy="3428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06289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B7BA672-CB4E-4C09-A9A5-C5188FAC78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16000" y="2433976"/>
            <a:ext cx="5760000" cy="1311128"/>
          </a:xfrm>
        </p:spPr>
        <p:txBody>
          <a:bodyPr anchor="ctr" anchorCtr="0">
            <a:noAutofit/>
          </a:bodyPr>
          <a:lstStyle>
            <a:lvl1pPr algn="l">
              <a:lnSpc>
                <a:spcPct val="100000"/>
              </a:lnSpc>
              <a:defRPr sz="4400" b="1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Rubrik på en eller </a:t>
            </a:r>
            <a:br>
              <a:rPr lang="sv-SE" dirty="0"/>
            </a:br>
            <a:r>
              <a:rPr lang="sv-SE" dirty="0"/>
              <a:t>två rader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96C12B1-FAC5-408C-938E-5A34ADECC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AD9C4-35A3-4D7A-9B19-F30406AB6CAC}" type="datetimeFigureOut">
              <a:rPr lang="sv-SE" smtClean="0"/>
              <a:t>2025-12-03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2AF2A56-066C-474D-9C57-F10EE75EA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B080D49-24A8-48AD-B084-47F2DB775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3B2B7-BEA8-4334-A326-592BBB640B02}" type="slidenum">
              <a:rPr lang="sv-SE" smtClean="0"/>
              <a:t>‹#›</a:t>
            </a:fld>
            <a:endParaRPr lang="sv-SE"/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FFF31AE7-D880-407A-9C88-13783A4EC040}"/>
              </a:ext>
            </a:extLst>
          </p:cNvPr>
          <p:cNvSpPr/>
          <p:nvPr/>
        </p:nvSpPr>
        <p:spPr>
          <a:xfrm>
            <a:off x="1" y="0"/>
            <a:ext cx="345599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696808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A735114-FF72-44A1-A510-3F846FC92C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6809" y="972000"/>
            <a:ext cx="7200000" cy="1325563"/>
          </a:xfrm>
        </p:spPr>
        <p:txBody>
          <a:bodyPr anchor="b" anchorCtr="0">
            <a:noAutofit/>
          </a:bodyPr>
          <a:lstStyle>
            <a:lvl1pPr>
              <a:defRPr sz="3600"/>
            </a:lvl1pPr>
          </a:lstStyle>
          <a:p>
            <a:r>
              <a:rPr lang="sv-SE" dirty="0"/>
              <a:t>Rubrik på en eller två rader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138FA8A6-E8AD-49AE-8A02-8E0135A4D3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AD9C4-35A3-4D7A-9B19-F30406AB6CAC}" type="datetimeFigureOut">
              <a:rPr lang="sv-SE" smtClean="0"/>
              <a:t>2025-12-03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128B042-CD46-459F-B15F-9CD51445A1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212B9B4-3EFB-4D25-A6FF-2C335D0EA7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3B2B7-BEA8-4334-A326-592BBB640B02}" type="slidenum">
              <a:rPr lang="sv-SE" smtClean="0"/>
              <a:t>‹#›</a:t>
            </a:fld>
            <a:endParaRPr lang="sv-SE"/>
          </a:p>
        </p:txBody>
      </p:sp>
      <p:sp>
        <p:nvSpPr>
          <p:cNvPr id="8" name="Platshållare för text 7">
            <a:extLst>
              <a:ext uri="{FF2B5EF4-FFF2-40B4-BE49-F238E27FC236}">
                <a16:creationId xmlns:a16="http://schemas.microsoft.com/office/drawing/2014/main" id="{F2074D27-2532-4EB4-AA8D-F347C8462D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96809" y="2482850"/>
            <a:ext cx="7200000" cy="3240000"/>
          </a:xfrm>
        </p:spPr>
        <p:txBody>
          <a:bodyPr>
            <a:noAutofit/>
          </a:bodyPr>
          <a:lstStyle/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EE3DB552-76B5-45DA-A7BF-518537E75530}"/>
              </a:ext>
            </a:extLst>
          </p:cNvPr>
          <p:cNvSpPr/>
          <p:nvPr/>
        </p:nvSpPr>
        <p:spPr>
          <a:xfrm>
            <a:off x="1" y="0"/>
            <a:ext cx="345599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459608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En rubrik och 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B5948AE-B8A7-4000-B08D-FD08594BF8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73496" y="972000"/>
            <a:ext cx="8640000" cy="1325563"/>
          </a:xfrm>
        </p:spPr>
        <p:txBody>
          <a:bodyPr anchor="b" anchorCtr="0">
            <a:noAutofit/>
          </a:bodyPr>
          <a:lstStyle>
            <a:lvl1pPr>
              <a:defRPr sz="3600"/>
            </a:lvl1pPr>
          </a:lstStyle>
          <a:p>
            <a:r>
              <a:rPr lang="sv-SE" dirty="0"/>
              <a:t>Rubrik på en ra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392B27C-79B3-42A9-ADBC-D4CB29DF52F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773496" y="2484000"/>
            <a:ext cx="4140000" cy="32400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2000"/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600"/>
            </a:lvl3pPr>
          </a:lstStyle>
          <a:p>
            <a:pPr lvl="0"/>
            <a:r>
              <a:rPr lang="sv-SE" dirty="0"/>
              <a:t>Lägg till innehåll eller skriv 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91BFD846-89A8-413D-9B4E-79A0C286829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3496" y="2484000"/>
            <a:ext cx="4140000" cy="32400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2000"/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600"/>
            </a:lvl3pPr>
          </a:lstStyle>
          <a:p>
            <a:pPr lvl="0"/>
            <a:r>
              <a:rPr lang="sv-SE" dirty="0"/>
              <a:t>Lägg till innehåll eller skriv 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44278D66-6239-4120-87FD-AF687B658D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AD9C4-35A3-4D7A-9B19-F30406AB6CAC}" type="datetimeFigureOut">
              <a:rPr lang="sv-SE" smtClean="0"/>
              <a:t>2025-12-03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D1D86113-5BDD-4567-921A-D416519CF5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1640086D-4C59-4640-B415-83D1F560F6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3B2B7-BEA8-4334-A326-592BBB640B02}" type="slidenum">
              <a:rPr lang="sv-SE" smtClean="0"/>
              <a:t>‹#›</a:t>
            </a:fld>
            <a:endParaRPr lang="sv-SE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5C430EC2-426A-4AEF-9877-11E250564623}"/>
              </a:ext>
            </a:extLst>
          </p:cNvPr>
          <p:cNvSpPr/>
          <p:nvPr/>
        </p:nvSpPr>
        <p:spPr>
          <a:xfrm>
            <a:off x="1" y="0"/>
            <a:ext cx="345599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895690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vsnit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B7BA672-CB4E-4C09-A9A5-C5188FAC78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255644" y="2494800"/>
            <a:ext cx="5599074" cy="1311128"/>
          </a:xfrm>
        </p:spPr>
        <p:txBody>
          <a:bodyPr anchor="b">
            <a:noAutofit/>
          </a:bodyPr>
          <a:lstStyle>
            <a:lvl1pPr algn="l">
              <a:lnSpc>
                <a:spcPct val="100000"/>
              </a:lnSpc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Kapitelrubrik på en eller två rader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96C12B1-FAC5-408C-938E-5A34ADECC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61A35B-5759-402D-A031-2298209AB0E2}" type="datetimeFigureOut">
              <a:rPr lang="sv-SE" smtClean="0"/>
              <a:t>2025-12-03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2AF2A56-066C-474D-9C57-F10EE75EA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B080D49-24A8-48AD-B084-47F2DB775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95FCE1-8E5F-4560-B29E-7FB78EB7A839}" type="slidenum">
              <a:rPr lang="sv-SE" smtClean="0"/>
              <a:t>‹#›</a:t>
            </a:fld>
            <a:endParaRPr lang="sv-SE"/>
          </a:p>
        </p:txBody>
      </p:sp>
      <p:sp>
        <p:nvSpPr>
          <p:cNvPr id="11" name="Underrubrik 2">
            <a:extLst>
              <a:ext uri="{FF2B5EF4-FFF2-40B4-BE49-F238E27FC236}">
                <a16:creationId xmlns:a16="http://schemas.microsoft.com/office/drawing/2014/main" id="{4E603FF1-A2AA-4DFA-A81C-56517907015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55645" y="3804757"/>
            <a:ext cx="5599074" cy="645902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Underrubrik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4654C601-3316-4300-8504-A56E1410142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09" t="28708"/>
          <a:stretch/>
        </p:blipFill>
        <p:spPr>
          <a:xfrm>
            <a:off x="0" y="0"/>
            <a:ext cx="4121077" cy="3428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87913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 rubrik och två underrubri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282DF18E-7E8D-4A71-890C-3CFB2327709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776809" y="1477692"/>
            <a:ext cx="4140001" cy="82391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dirty="0"/>
              <a:t>Rubrik på en eller två rader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A46B3D42-77C7-4FA8-AA30-92017FA612DA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76809" y="1481733"/>
            <a:ext cx="4140000" cy="82391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dirty="0"/>
              <a:t>Rubrik på en eller två rader</a:t>
            </a:r>
          </a:p>
        </p:txBody>
      </p:sp>
      <p:sp>
        <p:nvSpPr>
          <p:cNvPr id="7" name="Platshållare för datum 6">
            <a:extLst>
              <a:ext uri="{FF2B5EF4-FFF2-40B4-BE49-F238E27FC236}">
                <a16:creationId xmlns:a16="http://schemas.microsoft.com/office/drawing/2014/main" id="{ACDCC492-7BCC-4ED9-B2C6-C005B30C51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AD9C4-35A3-4D7A-9B19-F30406AB6CAC}" type="datetimeFigureOut">
              <a:rPr lang="sv-SE" smtClean="0"/>
              <a:t>2025-12-03</a:t>
            </a:fld>
            <a:endParaRPr lang="sv-SE"/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A2A9FDD7-8709-4118-8A52-E0DB7693F5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id="{9AC5545E-7744-463D-8795-8ACFFF917D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3B2B7-BEA8-4334-A326-592BBB640B02}" type="slidenum">
              <a:rPr lang="sv-SE" smtClean="0"/>
              <a:t>‹#›</a:t>
            </a:fld>
            <a:endParaRPr lang="sv-SE"/>
          </a:p>
        </p:txBody>
      </p:sp>
      <p:sp>
        <p:nvSpPr>
          <p:cNvPr id="10" name="Rubrik 1">
            <a:extLst>
              <a:ext uri="{FF2B5EF4-FFF2-40B4-BE49-F238E27FC236}">
                <a16:creationId xmlns:a16="http://schemas.microsoft.com/office/drawing/2014/main" id="{D01EF920-89B6-43FE-BC82-D3F3F4E246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76809" y="585044"/>
            <a:ext cx="8640000" cy="710252"/>
          </a:xfrm>
        </p:spPr>
        <p:txBody>
          <a:bodyPr anchor="b" anchorCtr="0">
            <a:noAutofit/>
          </a:bodyPr>
          <a:lstStyle>
            <a:lvl1pPr>
              <a:defRPr sz="3600"/>
            </a:lvl1pPr>
          </a:lstStyle>
          <a:p>
            <a:r>
              <a:rPr lang="sv-SE" dirty="0"/>
              <a:t>Rubrik på en rad</a:t>
            </a:r>
          </a:p>
        </p:txBody>
      </p:sp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D4D9B012-53D8-4F15-8B22-2FDE176255A1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1776809" y="2484000"/>
            <a:ext cx="4140000" cy="32400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2000"/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600"/>
            </a:lvl3pPr>
          </a:lstStyle>
          <a:p>
            <a:pPr lvl="0"/>
            <a:r>
              <a:rPr lang="sv-SE" dirty="0"/>
              <a:t>Lägg till innehåll eller skriv 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2" name="Platshållare för innehåll 3">
            <a:extLst>
              <a:ext uri="{FF2B5EF4-FFF2-40B4-BE49-F238E27FC236}">
                <a16:creationId xmlns:a16="http://schemas.microsoft.com/office/drawing/2014/main" id="{C670D3A9-CE21-4ECA-B331-6CD15F9616B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6809" y="2484000"/>
            <a:ext cx="4140000" cy="32400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2000"/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600"/>
            </a:lvl3pPr>
          </a:lstStyle>
          <a:p>
            <a:pPr lvl="0"/>
            <a:r>
              <a:rPr lang="sv-SE" dirty="0"/>
              <a:t>Lägg till innehåll eller skriv 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7F6ACE35-4E6C-49D8-A224-4BBC04C46960}"/>
              </a:ext>
            </a:extLst>
          </p:cNvPr>
          <p:cNvSpPr/>
          <p:nvPr/>
        </p:nvSpPr>
        <p:spPr>
          <a:xfrm>
            <a:off x="1" y="0"/>
            <a:ext cx="345599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731977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B5948AE-B8A7-4000-B08D-FD08594BF8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03175" y="972000"/>
            <a:ext cx="4140000" cy="1325563"/>
          </a:xfrm>
        </p:spPr>
        <p:txBody>
          <a:bodyPr anchor="b" anchorCtr="0">
            <a:noAutofit/>
          </a:bodyPr>
          <a:lstStyle>
            <a:lvl1pPr>
              <a:defRPr sz="3600"/>
            </a:lvl1pPr>
          </a:lstStyle>
          <a:p>
            <a:r>
              <a:rPr lang="sv-SE" dirty="0"/>
              <a:t>Rubrik på en eller två rader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91BFD846-89A8-413D-9B4E-79A0C286829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7003175" y="2484000"/>
            <a:ext cx="4140000" cy="32400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2000"/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600"/>
            </a:lvl3pPr>
          </a:lstStyle>
          <a:p>
            <a:pPr lvl="0"/>
            <a:r>
              <a:rPr lang="sv-SE" dirty="0"/>
              <a:t>Lägg till innehåll eller skriv 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44278D66-6239-4120-87FD-AF687B658D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6AD9C4-35A3-4D7A-9B19-F30406AB6CAC}" type="datetimeFigureOut">
              <a:rPr lang="sv-SE" smtClean="0"/>
              <a:t>2025-12-03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D1D86113-5BDD-4567-921A-D416519CF5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80E395B5-3017-4735-BEE7-B3DEC703BAA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45601" y="0"/>
            <a:ext cx="5750400" cy="6858000"/>
          </a:xfrm>
        </p:spPr>
        <p:txBody>
          <a:bodyPr tIns="0" bIns="1800000" anchor="ctr" anchorCtr="0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sv-SE" dirty="0"/>
              <a:t>Klicka på ikonen för att </a:t>
            </a:r>
            <a:br>
              <a:rPr lang="sv-SE" dirty="0"/>
            </a:br>
            <a:r>
              <a:rPr lang="sv-SE" dirty="0"/>
              <a:t>lägga till en bild</a:t>
            </a: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50831E66-BE42-4C10-8590-C12E77B62EBA}"/>
              </a:ext>
            </a:extLst>
          </p:cNvPr>
          <p:cNvSpPr/>
          <p:nvPr/>
        </p:nvSpPr>
        <p:spPr>
          <a:xfrm>
            <a:off x="1" y="0"/>
            <a:ext cx="345599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846195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och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bild 9">
            <a:extLst>
              <a:ext uri="{FF2B5EF4-FFF2-40B4-BE49-F238E27FC236}">
                <a16:creationId xmlns:a16="http://schemas.microsoft.com/office/drawing/2014/main" id="{6437C3FB-B590-43F3-8686-17D11169DEC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45601" y="0"/>
            <a:ext cx="11846400" cy="6858000"/>
          </a:xfrm>
        </p:spPr>
        <p:txBody>
          <a:bodyPr tIns="0" bIns="1800000" anchor="ctr" anchorCtr="0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sv-SE" dirty="0"/>
              <a:t>Klicka på ikonen för att </a:t>
            </a:r>
            <a:br>
              <a:rPr lang="sv-SE" dirty="0"/>
            </a:br>
            <a:r>
              <a:rPr lang="sv-SE" dirty="0"/>
              <a:t>lägga till en bild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0C0FFDE-20E1-4E05-AD5B-876993A14B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6AD9C4-35A3-4D7A-9B19-F30406AB6CAC}" type="datetimeFigureOut">
              <a:rPr lang="sv-SE" smtClean="0"/>
              <a:t>2025-12-03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9C658C64-0CC7-478A-AC17-30210252F9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FBD27019-FF78-4832-9008-F432E9C3B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43B2B7-BEA8-4334-A326-592BBB640B02}" type="slidenum">
              <a:rPr lang="sv-SE" smtClean="0"/>
              <a:t>‹#›</a:t>
            </a:fld>
            <a:endParaRPr lang="sv-SE"/>
          </a:p>
        </p:txBody>
      </p:sp>
      <p:sp>
        <p:nvSpPr>
          <p:cNvPr id="8" name="Rubrik 1">
            <a:extLst>
              <a:ext uri="{FF2B5EF4-FFF2-40B4-BE49-F238E27FC236}">
                <a16:creationId xmlns:a16="http://schemas.microsoft.com/office/drawing/2014/main" id="{118C7873-AD9A-4598-BEE2-3ED782562B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8465" y="617055"/>
            <a:ext cx="5495070" cy="1325563"/>
          </a:xfrm>
        </p:spPr>
        <p:txBody>
          <a:bodyPr anchor="b" anchorCtr="0">
            <a:noAutofit/>
          </a:bodyPr>
          <a:lstStyle>
            <a:lvl1pPr>
              <a:defRPr sz="2800"/>
            </a:lvl1pPr>
          </a:lstStyle>
          <a:p>
            <a:r>
              <a:rPr lang="sv-SE" dirty="0"/>
              <a:t>Rubrik i svart/vit/blå placeras fritt på bilden där den passar</a:t>
            </a: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BBAB7C4-34CF-4F5D-8C3D-27B38F9E8CF0}"/>
              </a:ext>
            </a:extLst>
          </p:cNvPr>
          <p:cNvSpPr/>
          <p:nvPr/>
        </p:nvSpPr>
        <p:spPr>
          <a:xfrm>
            <a:off x="1" y="0"/>
            <a:ext cx="345599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002981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örre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17055415-C399-4877-B646-A2D63B23A5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AD9C4-35A3-4D7A-9B19-F30406AB6CAC}" type="datetimeFigureOut">
              <a:rPr lang="sv-SE" smtClean="0"/>
              <a:t>2025-12-03</a:t>
            </a:fld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EF62413D-730B-4EBD-B9C6-E6B147E9DB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A3D275AC-7ABB-49A4-BADA-267D495A83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3B2B7-BEA8-4334-A326-592BBB640B02}" type="slidenum">
              <a:rPr lang="sv-SE" smtClean="0"/>
              <a:t>‹#›</a:t>
            </a:fld>
            <a:endParaRPr lang="sv-SE"/>
          </a:p>
        </p:txBody>
      </p:sp>
      <p:sp>
        <p:nvSpPr>
          <p:cNvPr id="6" name="Platshållare för innehåll 2">
            <a:extLst>
              <a:ext uri="{FF2B5EF4-FFF2-40B4-BE49-F238E27FC236}">
                <a16:creationId xmlns:a16="http://schemas.microsoft.com/office/drawing/2014/main" id="{241C9948-CE84-42C5-B2F5-861912055175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1800000" y="1134737"/>
            <a:ext cx="8640000" cy="4589261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sv-SE" dirty="0"/>
              <a:t>Innehåll med grafik som t ex tabell eller diagram</a:t>
            </a: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7BC50C73-2857-465E-A01E-727A200B1112}"/>
              </a:ext>
            </a:extLst>
          </p:cNvPr>
          <p:cNvSpPr/>
          <p:nvPr/>
        </p:nvSpPr>
        <p:spPr>
          <a:xfrm>
            <a:off x="1" y="0"/>
            <a:ext cx="345599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279550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BF7BF05E-0759-41B0-A771-97D723EF6EC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569960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vsl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8302B766-1A21-4681-B97B-01C97262C00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B710450C-1CB8-48CB-BBC9-7DC124B221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6AD9C4-35A3-4D7A-9B19-F30406AB6CAC}" type="datetimeFigureOut">
              <a:rPr lang="sv-SE" smtClean="0"/>
              <a:t>2025-12-03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E466EFA4-20AE-4AD4-B435-6B0C7A76D4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07F53102-507D-4A65-80DF-48F934CE29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43B2B7-BEA8-4334-A326-592BBB640B02}" type="slidenum">
              <a:rPr lang="sv-SE" smtClean="0"/>
              <a:t>‹#›</a:t>
            </a:fld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01505DD5-2D9F-4AA5-8E4B-961FE767EB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4713" y="2898400"/>
            <a:ext cx="3422574" cy="990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865452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å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5E64001-8B8D-4A08-870E-B2A5C68E210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B7BA672-CB4E-4C09-A9A5-C5188FAC78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56000" y="1963490"/>
            <a:ext cx="6480000" cy="2123658"/>
          </a:xfrm>
        </p:spPr>
        <p:txBody>
          <a:bodyPr anchor="ctr" anchorCtr="0">
            <a:noAutofit/>
          </a:bodyPr>
          <a:lstStyle>
            <a:lvl1pPr algn="l">
              <a:lnSpc>
                <a:spcPct val="100000"/>
              </a:lnSpc>
              <a:defRPr sz="6600" b="1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Stor rubrik på en eller två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96C12B1-FAC5-408C-938E-5A34ADECC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B2360C-C35F-5040-8F82-49517619CE55}" type="datetime1">
              <a:rPr lang="sv-SE" smtClean="0"/>
              <a:t>2025-12-03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2AF2A56-066C-474D-9C57-F10EE75EA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B080D49-24A8-48AD-B084-47F2DB775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3FB9FB-F0A8-4F05-A3B7-7EDA3F6823CA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0E5F354F-E26A-4C4E-A496-1F6686E33E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8872" y="6056300"/>
            <a:ext cx="1667528" cy="482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3622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il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5E64001-8B8D-4A08-870E-B2A5C68E210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B7BA672-CB4E-4C09-A9A5-C5188FAC78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56000" y="1963490"/>
            <a:ext cx="6480000" cy="2123658"/>
          </a:xfrm>
        </p:spPr>
        <p:txBody>
          <a:bodyPr anchor="ctr" anchorCtr="0">
            <a:noAutofit/>
          </a:bodyPr>
          <a:lstStyle>
            <a:lvl1pPr algn="l">
              <a:lnSpc>
                <a:spcPct val="100000"/>
              </a:lnSpc>
              <a:defRPr sz="6600" b="1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Stor rubrik på en eller två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96C12B1-FAC5-408C-938E-5A34ADECC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B2360C-C35F-5040-8F82-49517619CE55}" type="datetime1">
              <a:rPr lang="sv-SE" smtClean="0"/>
              <a:t>2025-12-03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2AF2A56-066C-474D-9C57-F10EE75EA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B080D49-24A8-48AD-B084-47F2DB775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3FB9FB-F0A8-4F05-A3B7-7EDA3F6823CA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0E5F354F-E26A-4C4E-A496-1F6686E33E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8872" y="6056300"/>
            <a:ext cx="1667528" cy="482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01478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ö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5E64001-8B8D-4A08-870E-B2A5C68E210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B7BA672-CB4E-4C09-A9A5-C5188FAC78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56000" y="1963490"/>
            <a:ext cx="6480000" cy="2123658"/>
          </a:xfrm>
        </p:spPr>
        <p:txBody>
          <a:bodyPr anchor="ctr" anchorCtr="0">
            <a:noAutofit/>
          </a:bodyPr>
          <a:lstStyle>
            <a:lvl1pPr algn="l">
              <a:lnSpc>
                <a:spcPct val="100000"/>
              </a:lnSpc>
              <a:defRPr sz="6600" b="1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Stor rubrik på en eller två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96C12B1-FAC5-408C-938E-5A34ADECC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B2360C-C35F-5040-8F82-49517619CE55}" type="datetime1">
              <a:rPr lang="sv-SE" smtClean="0"/>
              <a:t>2025-12-03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2AF2A56-066C-474D-9C57-F10EE75EA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B080D49-24A8-48AD-B084-47F2DB775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3FB9FB-F0A8-4F05-A3B7-7EDA3F6823CA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0E5F354F-E26A-4C4E-A496-1F6686E33E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8872" y="6056300"/>
            <a:ext cx="1667528" cy="482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17502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ul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B7BA672-CB4E-4C09-A9A5-C5188FAC78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56000" y="1963490"/>
            <a:ext cx="6480000" cy="2123658"/>
          </a:xfrm>
        </p:spPr>
        <p:txBody>
          <a:bodyPr anchor="ctr" anchorCtr="0">
            <a:noAutofit/>
          </a:bodyPr>
          <a:lstStyle>
            <a:lvl1pPr algn="l">
              <a:lnSpc>
                <a:spcPct val="100000"/>
              </a:lnSpc>
              <a:defRPr sz="6600" b="1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Stor rubrik på en eller två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96C12B1-FAC5-408C-938E-5A34ADECC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EB2360C-C35F-5040-8F82-49517619CE55}" type="datetime1">
              <a:rPr lang="sv-SE" smtClean="0"/>
              <a:pPr/>
              <a:t>2025-12-03</a:t>
            </a:fld>
            <a:endParaRPr lang="sv-SE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2AF2A56-066C-474D-9C57-F10EE75EA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B080D49-24A8-48AD-B084-47F2DB775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13FB9FB-F0A8-4F05-A3B7-7EDA3F6823CA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527005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B7BA672-CB4E-4C09-A9A5-C5188FAC78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16000" y="2433976"/>
            <a:ext cx="5760000" cy="1311128"/>
          </a:xfrm>
        </p:spPr>
        <p:txBody>
          <a:bodyPr anchor="ctr" anchorCtr="0">
            <a:noAutofit/>
          </a:bodyPr>
          <a:lstStyle>
            <a:lvl1pPr algn="l">
              <a:lnSpc>
                <a:spcPct val="100000"/>
              </a:lnSpc>
              <a:defRPr sz="4400" b="1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Rubrik på en eller </a:t>
            </a:r>
            <a:br>
              <a:rPr lang="sv-SE" dirty="0"/>
            </a:br>
            <a:r>
              <a:rPr lang="sv-SE" dirty="0"/>
              <a:t>två rader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96C12B1-FAC5-408C-938E-5A34ADECC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61A35B-5759-402D-A031-2298209AB0E2}" type="datetimeFigureOut">
              <a:rPr lang="sv-SE" smtClean="0"/>
              <a:t>2025-12-03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2AF2A56-066C-474D-9C57-F10EE75EA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B080D49-24A8-48AD-B084-47F2DB775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95FCE1-8E5F-4560-B29E-7FB78EB7A839}" type="slidenum">
              <a:rPr lang="sv-SE" smtClean="0"/>
              <a:t>‹#›</a:t>
            </a:fld>
            <a:endParaRPr lang="sv-SE"/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FFF31AE7-D880-407A-9C88-13783A4EC040}"/>
              </a:ext>
            </a:extLst>
          </p:cNvPr>
          <p:cNvSpPr/>
          <p:nvPr/>
        </p:nvSpPr>
        <p:spPr>
          <a:xfrm>
            <a:off x="1" y="0"/>
            <a:ext cx="34559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717048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jus blå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5E64001-8B8D-4A08-870E-B2A5C68E210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B7BA672-CB4E-4C09-A9A5-C5188FAC78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56000" y="1963490"/>
            <a:ext cx="6480000" cy="2123658"/>
          </a:xfrm>
        </p:spPr>
        <p:txBody>
          <a:bodyPr anchor="ctr" anchorCtr="0">
            <a:noAutofit/>
          </a:bodyPr>
          <a:lstStyle>
            <a:lvl1pPr algn="l">
              <a:lnSpc>
                <a:spcPct val="100000"/>
              </a:lnSpc>
              <a:defRPr sz="6600" b="1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Stor rubrik på en eller två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96C12B1-FAC5-408C-938E-5A34ADECC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B2360C-C35F-5040-8F82-49517619CE55}" type="datetime1">
              <a:rPr lang="sv-SE" smtClean="0"/>
              <a:t>2025-12-03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2AF2A56-066C-474D-9C57-F10EE75EA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B080D49-24A8-48AD-B084-47F2DB775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3FB9FB-F0A8-4F05-A3B7-7EDA3F6823CA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0E5F354F-E26A-4C4E-A496-1F6686E33E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8872" y="6056300"/>
            <a:ext cx="1667528" cy="482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78152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ö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5E64001-8B8D-4A08-870E-B2A5C68E210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B7BA672-CB4E-4C09-A9A5-C5188FAC78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56000" y="1963490"/>
            <a:ext cx="6480000" cy="2123658"/>
          </a:xfrm>
        </p:spPr>
        <p:txBody>
          <a:bodyPr anchor="ctr" anchorCtr="0">
            <a:noAutofit/>
          </a:bodyPr>
          <a:lstStyle>
            <a:lvl1pPr algn="l">
              <a:lnSpc>
                <a:spcPct val="100000"/>
              </a:lnSpc>
              <a:defRPr sz="6600" b="1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Stor rubrik på en eller två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96C12B1-FAC5-408C-938E-5A34ADECC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B2360C-C35F-5040-8F82-49517619CE55}" type="datetime1">
              <a:rPr lang="sv-SE" smtClean="0"/>
              <a:t>2025-12-03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2AF2A56-066C-474D-9C57-F10EE75EA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B080D49-24A8-48AD-B084-47F2DB775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3FB9FB-F0A8-4F05-A3B7-7EDA3F6823CA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0E5F354F-E26A-4C4E-A496-1F6686E33E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8872" y="6056300"/>
            <a:ext cx="1667528" cy="482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74705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å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5E64001-8B8D-4A08-870E-B2A5C68E210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B7BA672-CB4E-4C09-A9A5-C5188FAC78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56000" y="1963490"/>
            <a:ext cx="6480000" cy="2123658"/>
          </a:xfrm>
        </p:spPr>
        <p:txBody>
          <a:bodyPr anchor="ctr" anchorCtr="0">
            <a:noAutofit/>
          </a:bodyPr>
          <a:lstStyle>
            <a:lvl1pPr algn="l">
              <a:lnSpc>
                <a:spcPct val="100000"/>
              </a:lnSpc>
              <a:defRPr sz="6600" b="1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Stor rubrik på en eller två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96C12B1-FAC5-408C-938E-5A34ADECC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B2360C-C35F-5040-8F82-49517619CE55}" type="datetime1">
              <a:rPr lang="sv-SE" smtClean="0"/>
              <a:t>2025-12-03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2AF2A56-066C-474D-9C57-F10EE75EA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B080D49-24A8-48AD-B084-47F2DB775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3FB9FB-F0A8-4F05-A3B7-7EDA3F6823CA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0E5F354F-E26A-4C4E-A496-1F6686E33E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8872" y="6056300"/>
            <a:ext cx="1667528" cy="482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6478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F4761D45-AF37-B2F4-C47A-2E77A05821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EC3A30A-6E2D-4AA0-A698-C7EC701A20A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C36F98EB-B273-CB56-9C29-A8C52FD5A4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023-04-17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342E699C-42DA-FEC3-7084-512997F79BB2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sv-SE" noProof="0"/>
              <a:t>Klicka här för att ändra mall för rubrikformat</a:t>
            </a: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54DFFE0A-AB1D-1035-67FF-3B9EAD69C639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pPr lvl="0"/>
            <a:r>
              <a:rPr lang="sv-SE" noProof="0"/>
              <a:t>Klicka här för att ändra mall för underrubrikformat</a:t>
            </a:r>
          </a:p>
        </p:txBody>
      </p:sp>
    </p:spTree>
    <p:extLst>
      <p:ext uri="{BB962C8B-B14F-4D97-AF65-F5344CB8AC3E}">
        <p14:creationId xmlns:p14="http://schemas.microsoft.com/office/powerpoint/2010/main" val="43903218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>
          <a:xfrm>
            <a:off x="7948419" y="561459"/>
            <a:ext cx="3695065" cy="118341"/>
          </a:xfrm>
        </p:spPr>
        <p:txBody>
          <a:bodyPr/>
          <a:lstStyle>
            <a:lvl1pPr>
              <a:defRPr/>
            </a:lvl1pPr>
          </a:lstStyle>
          <a:p>
            <a:fld id="{95D030B9-2D5D-4145-9A31-E6F09FE79D3D}" type="slidenum">
              <a:rPr lang="sv-SE"/>
              <a:pPr/>
              <a:t>‹#›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7917939" y="61193"/>
            <a:ext cx="3830108" cy="439380"/>
          </a:xfrm>
        </p:spPr>
        <p:txBody>
          <a:bodyPr/>
          <a:lstStyle>
            <a:lvl1pPr>
              <a:defRPr/>
            </a:lvl1pPr>
          </a:lstStyle>
          <a:p>
            <a:fld id="{6580ABD2-57F8-4900-850C-035B746ABF2E}" type="datetime1">
              <a:rPr lang="sv-SE" smtClean="0"/>
              <a:pPr/>
              <a:t>2025-12-0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1449870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bild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4FA043E-E595-4E37-AFD8-4DC4AAB472EF}" type="slidenum">
              <a:rPr lang="sv-SE"/>
              <a:pPr/>
              <a:t>‹#›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/>
              <a:t>2023-04-17</a:t>
            </a:r>
          </a:p>
        </p:txBody>
      </p:sp>
    </p:spTree>
    <p:extLst>
      <p:ext uri="{BB962C8B-B14F-4D97-AF65-F5344CB8AC3E}">
        <p14:creationId xmlns:p14="http://schemas.microsoft.com/office/powerpoint/2010/main" val="247029869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A81A622D-3432-1153-8003-95F15859624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EC3A30A-6E2D-4AA0-A698-C7EC701A20A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AD4F6E73-C975-AB85-3309-A26E868E97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023-04-17</a:t>
            </a:r>
          </a:p>
        </p:txBody>
      </p:sp>
    </p:spTree>
    <p:extLst>
      <p:ext uri="{BB962C8B-B14F-4D97-AF65-F5344CB8AC3E}">
        <p14:creationId xmlns:p14="http://schemas.microsoft.com/office/powerpoint/2010/main" val="194717777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AFFFF6B5-F3A0-C3D3-2348-94D7DAAD169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EC3A30A-6E2D-4AA0-A698-C7EC701A20A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3C16A28E-5983-5C10-A326-2317358C3B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023-04-17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886DC313-43BD-8FD7-47C4-36B4A6E4156C}"/>
              </a:ext>
            </a:extLst>
          </p:cNvPr>
          <p:cNvSpPr/>
          <p:nvPr userDrawn="1"/>
        </p:nvSpPr>
        <p:spPr bwMode="auto">
          <a:xfrm>
            <a:off x="0" y="6498558"/>
            <a:ext cx="12177600" cy="43088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2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  <a:ea typeface="Geneva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716596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sida - centrerad lju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4">
            <a:extLst>
              <a:ext uri="{FF2B5EF4-FFF2-40B4-BE49-F238E27FC236}">
                <a16:creationId xmlns:a16="http://schemas.microsoft.com/office/drawing/2014/main" id="{B335A87A-B35F-484A-BFA9-90E447DE70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90029" y="410308"/>
            <a:ext cx="644770" cy="644770"/>
          </a:xfrm>
          <a:prstGeom prst="rect">
            <a:avLst/>
          </a:prstGeom>
        </p:spPr>
      </p:pic>
      <p:sp>
        <p:nvSpPr>
          <p:cNvPr id="3" name="Rubrik 2">
            <a:extLst>
              <a:ext uri="{FF2B5EF4-FFF2-40B4-BE49-F238E27FC236}">
                <a16:creationId xmlns:a16="http://schemas.microsoft.com/office/drawing/2014/main" id="{485F34FD-CF15-47C6-AD1F-CDAE7D5F5F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1314" y="1981201"/>
            <a:ext cx="6969369" cy="1195754"/>
          </a:xfrm>
        </p:spPr>
        <p:txBody>
          <a:bodyPr/>
          <a:lstStyle>
            <a:lvl1pPr algn="ctr">
              <a:defRPr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8507A244-CD01-4863-A5BA-A3295EE7A5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11316" y="3176955"/>
            <a:ext cx="6969369" cy="2180492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6712767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sida - vänsterställd - lju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4">
            <a:extLst>
              <a:ext uri="{FF2B5EF4-FFF2-40B4-BE49-F238E27FC236}">
                <a16:creationId xmlns:a16="http://schemas.microsoft.com/office/drawing/2014/main" id="{E88FCE44-569B-4516-AC9B-E716D0A853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90029" y="410308"/>
            <a:ext cx="644770" cy="644770"/>
          </a:xfrm>
          <a:prstGeom prst="rect">
            <a:avLst/>
          </a:prstGeom>
        </p:spPr>
      </p:pic>
      <p:sp>
        <p:nvSpPr>
          <p:cNvPr id="5" name="Rubrik 4">
            <a:extLst>
              <a:ext uri="{FF2B5EF4-FFF2-40B4-BE49-F238E27FC236}">
                <a16:creationId xmlns:a16="http://schemas.microsoft.com/office/drawing/2014/main" id="{E1951109-5FB7-4F36-A460-E49EC57AE3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26123"/>
            <a:ext cx="5550877" cy="1195753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BDA6AFB2-F0E1-4AE4-BEB2-720267B4963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2121877"/>
            <a:ext cx="5550877" cy="380999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5840655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A735114-FF72-44A1-A510-3F846FC92C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6809" y="972000"/>
            <a:ext cx="7200000" cy="1325563"/>
          </a:xfrm>
        </p:spPr>
        <p:txBody>
          <a:bodyPr anchor="b" anchorCtr="0">
            <a:noAutofit/>
          </a:bodyPr>
          <a:lstStyle>
            <a:lvl1pPr>
              <a:defRPr sz="3600"/>
            </a:lvl1pPr>
          </a:lstStyle>
          <a:p>
            <a:r>
              <a:rPr lang="sv-SE" dirty="0"/>
              <a:t>Rubrik på en eller två rader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138FA8A6-E8AD-49AE-8A02-8E0135A4D3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61A35B-5759-402D-A031-2298209AB0E2}" type="datetimeFigureOut">
              <a:rPr lang="sv-SE" smtClean="0"/>
              <a:t>2025-12-03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128B042-CD46-459F-B15F-9CD51445A1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212B9B4-3EFB-4D25-A6FF-2C335D0EA7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95FCE1-8E5F-4560-B29E-7FB78EB7A839}" type="slidenum">
              <a:rPr lang="sv-SE" smtClean="0"/>
              <a:t>‹#›</a:t>
            </a:fld>
            <a:endParaRPr lang="sv-SE"/>
          </a:p>
        </p:txBody>
      </p:sp>
      <p:sp>
        <p:nvSpPr>
          <p:cNvPr id="8" name="Platshållare för text 7">
            <a:extLst>
              <a:ext uri="{FF2B5EF4-FFF2-40B4-BE49-F238E27FC236}">
                <a16:creationId xmlns:a16="http://schemas.microsoft.com/office/drawing/2014/main" id="{F2074D27-2532-4EB4-AA8D-F347C8462D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96809" y="2482850"/>
            <a:ext cx="7200000" cy="3240000"/>
          </a:xfrm>
        </p:spPr>
        <p:txBody>
          <a:bodyPr>
            <a:noAutofit/>
          </a:bodyPr>
          <a:lstStyle/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EE3DB552-76B5-45DA-A7BF-518537E75530}"/>
              </a:ext>
            </a:extLst>
          </p:cNvPr>
          <p:cNvSpPr/>
          <p:nvPr/>
        </p:nvSpPr>
        <p:spPr>
          <a:xfrm>
            <a:off x="1" y="0"/>
            <a:ext cx="34559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3977068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sida - centrerad lju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4">
            <a:extLst>
              <a:ext uri="{FF2B5EF4-FFF2-40B4-BE49-F238E27FC236}">
                <a16:creationId xmlns:a16="http://schemas.microsoft.com/office/drawing/2014/main" id="{B335A87A-B35F-484A-BFA9-90E447DE70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90029" y="410308"/>
            <a:ext cx="644770" cy="644770"/>
          </a:xfrm>
          <a:prstGeom prst="rect">
            <a:avLst/>
          </a:prstGeom>
        </p:spPr>
      </p:pic>
      <p:sp>
        <p:nvSpPr>
          <p:cNvPr id="3" name="Rubrik 2">
            <a:extLst>
              <a:ext uri="{FF2B5EF4-FFF2-40B4-BE49-F238E27FC236}">
                <a16:creationId xmlns:a16="http://schemas.microsoft.com/office/drawing/2014/main" id="{485F34FD-CF15-47C6-AD1F-CDAE7D5F5F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1314" y="1981201"/>
            <a:ext cx="6969369" cy="1195754"/>
          </a:xfrm>
        </p:spPr>
        <p:txBody>
          <a:bodyPr/>
          <a:lstStyle>
            <a:lvl1pPr algn="ctr">
              <a:defRPr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8507A244-CD01-4863-A5BA-A3295EE7A5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11316" y="3176955"/>
            <a:ext cx="6969369" cy="2180492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6712767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sida - vänsterställd - lju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4">
            <a:extLst>
              <a:ext uri="{FF2B5EF4-FFF2-40B4-BE49-F238E27FC236}">
                <a16:creationId xmlns:a16="http://schemas.microsoft.com/office/drawing/2014/main" id="{E88FCE44-569B-4516-AC9B-E716D0A853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90029" y="410308"/>
            <a:ext cx="644770" cy="644770"/>
          </a:xfrm>
          <a:prstGeom prst="rect">
            <a:avLst/>
          </a:prstGeom>
        </p:spPr>
      </p:pic>
      <p:sp>
        <p:nvSpPr>
          <p:cNvPr id="5" name="Rubrik 4">
            <a:extLst>
              <a:ext uri="{FF2B5EF4-FFF2-40B4-BE49-F238E27FC236}">
                <a16:creationId xmlns:a16="http://schemas.microsoft.com/office/drawing/2014/main" id="{E1951109-5FB7-4F36-A460-E49EC57AE3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26123"/>
            <a:ext cx="5550877" cy="1195753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BDA6AFB2-F0E1-4AE4-BEB2-720267B4963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2121877"/>
            <a:ext cx="5550877" cy="380999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58406555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sida - centrerad lju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4">
            <a:extLst>
              <a:ext uri="{FF2B5EF4-FFF2-40B4-BE49-F238E27FC236}">
                <a16:creationId xmlns:a16="http://schemas.microsoft.com/office/drawing/2014/main" id="{B335A87A-B35F-484A-BFA9-90E447DE70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90029" y="410308"/>
            <a:ext cx="644770" cy="644770"/>
          </a:xfrm>
          <a:prstGeom prst="rect">
            <a:avLst/>
          </a:prstGeom>
        </p:spPr>
      </p:pic>
      <p:sp>
        <p:nvSpPr>
          <p:cNvPr id="3" name="Rubrik 2">
            <a:extLst>
              <a:ext uri="{FF2B5EF4-FFF2-40B4-BE49-F238E27FC236}">
                <a16:creationId xmlns:a16="http://schemas.microsoft.com/office/drawing/2014/main" id="{485F34FD-CF15-47C6-AD1F-CDAE7D5F5F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1314" y="1981201"/>
            <a:ext cx="6969369" cy="1195754"/>
          </a:xfrm>
        </p:spPr>
        <p:txBody>
          <a:bodyPr/>
          <a:lstStyle>
            <a:lvl1pPr algn="ctr">
              <a:defRPr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8507A244-CD01-4863-A5BA-A3295EE7A5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11316" y="3176955"/>
            <a:ext cx="6969369" cy="2180492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6712767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sida - vänsterställd - lju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4">
            <a:extLst>
              <a:ext uri="{FF2B5EF4-FFF2-40B4-BE49-F238E27FC236}">
                <a16:creationId xmlns:a16="http://schemas.microsoft.com/office/drawing/2014/main" id="{E88FCE44-569B-4516-AC9B-E716D0A853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90029" y="410308"/>
            <a:ext cx="644770" cy="644770"/>
          </a:xfrm>
          <a:prstGeom prst="rect">
            <a:avLst/>
          </a:prstGeom>
        </p:spPr>
      </p:pic>
      <p:sp>
        <p:nvSpPr>
          <p:cNvPr id="5" name="Rubrik 4">
            <a:extLst>
              <a:ext uri="{FF2B5EF4-FFF2-40B4-BE49-F238E27FC236}">
                <a16:creationId xmlns:a16="http://schemas.microsoft.com/office/drawing/2014/main" id="{E1951109-5FB7-4F36-A460-E49EC57AE3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26123"/>
            <a:ext cx="5550877" cy="1195753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BDA6AFB2-F0E1-4AE4-BEB2-720267B4963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2121877"/>
            <a:ext cx="5550877" cy="380999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58406555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sida - centrerad lju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4">
            <a:extLst>
              <a:ext uri="{FF2B5EF4-FFF2-40B4-BE49-F238E27FC236}">
                <a16:creationId xmlns:a16="http://schemas.microsoft.com/office/drawing/2014/main" id="{B335A87A-B35F-484A-BFA9-90E447DE70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90029" y="410308"/>
            <a:ext cx="644770" cy="644770"/>
          </a:xfrm>
          <a:prstGeom prst="rect">
            <a:avLst/>
          </a:prstGeom>
        </p:spPr>
      </p:pic>
      <p:sp>
        <p:nvSpPr>
          <p:cNvPr id="3" name="Rubrik 2">
            <a:extLst>
              <a:ext uri="{FF2B5EF4-FFF2-40B4-BE49-F238E27FC236}">
                <a16:creationId xmlns:a16="http://schemas.microsoft.com/office/drawing/2014/main" id="{485F34FD-CF15-47C6-AD1F-CDAE7D5F5F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1314" y="1981201"/>
            <a:ext cx="6969369" cy="1195754"/>
          </a:xfrm>
        </p:spPr>
        <p:txBody>
          <a:bodyPr/>
          <a:lstStyle>
            <a:lvl1pPr algn="ctr">
              <a:defRPr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8507A244-CD01-4863-A5BA-A3295EE7A5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11316" y="3176955"/>
            <a:ext cx="6969369" cy="2180492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6712767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sida - vänsterställd - lju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4">
            <a:extLst>
              <a:ext uri="{FF2B5EF4-FFF2-40B4-BE49-F238E27FC236}">
                <a16:creationId xmlns:a16="http://schemas.microsoft.com/office/drawing/2014/main" id="{E88FCE44-569B-4516-AC9B-E716D0A853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90029" y="410308"/>
            <a:ext cx="644770" cy="644770"/>
          </a:xfrm>
          <a:prstGeom prst="rect">
            <a:avLst/>
          </a:prstGeom>
        </p:spPr>
      </p:pic>
      <p:sp>
        <p:nvSpPr>
          <p:cNvPr id="5" name="Rubrik 4">
            <a:extLst>
              <a:ext uri="{FF2B5EF4-FFF2-40B4-BE49-F238E27FC236}">
                <a16:creationId xmlns:a16="http://schemas.microsoft.com/office/drawing/2014/main" id="{E1951109-5FB7-4F36-A460-E49EC57AE3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26123"/>
            <a:ext cx="5550877" cy="1195753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BDA6AFB2-F0E1-4AE4-BEB2-720267B4963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2121877"/>
            <a:ext cx="5550877" cy="380999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58406555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sida - centrerad lju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4">
            <a:extLst>
              <a:ext uri="{FF2B5EF4-FFF2-40B4-BE49-F238E27FC236}">
                <a16:creationId xmlns:a16="http://schemas.microsoft.com/office/drawing/2014/main" id="{B335A87A-B35F-484A-BFA9-90E447DE70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90029" y="410308"/>
            <a:ext cx="644770" cy="644770"/>
          </a:xfrm>
          <a:prstGeom prst="rect">
            <a:avLst/>
          </a:prstGeom>
        </p:spPr>
      </p:pic>
      <p:sp>
        <p:nvSpPr>
          <p:cNvPr id="3" name="Rubrik 2">
            <a:extLst>
              <a:ext uri="{FF2B5EF4-FFF2-40B4-BE49-F238E27FC236}">
                <a16:creationId xmlns:a16="http://schemas.microsoft.com/office/drawing/2014/main" id="{485F34FD-CF15-47C6-AD1F-CDAE7D5F5F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1314" y="1981201"/>
            <a:ext cx="6969369" cy="1195754"/>
          </a:xfrm>
        </p:spPr>
        <p:txBody>
          <a:bodyPr/>
          <a:lstStyle>
            <a:lvl1pPr algn="ctr">
              <a:defRPr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8507A244-CD01-4863-A5BA-A3295EE7A5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11316" y="3176955"/>
            <a:ext cx="6969369" cy="2180492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6712767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sida - vänsterställd - lju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4">
            <a:extLst>
              <a:ext uri="{FF2B5EF4-FFF2-40B4-BE49-F238E27FC236}">
                <a16:creationId xmlns:a16="http://schemas.microsoft.com/office/drawing/2014/main" id="{E88FCE44-569B-4516-AC9B-E716D0A853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90029" y="410308"/>
            <a:ext cx="644770" cy="644770"/>
          </a:xfrm>
          <a:prstGeom prst="rect">
            <a:avLst/>
          </a:prstGeom>
        </p:spPr>
      </p:pic>
      <p:sp>
        <p:nvSpPr>
          <p:cNvPr id="5" name="Rubrik 4">
            <a:extLst>
              <a:ext uri="{FF2B5EF4-FFF2-40B4-BE49-F238E27FC236}">
                <a16:creationId xmlns:a16="http://schemas.microsoft.com/office/drawing/2014/main" id="{E1951109-5FB7-4F36-A460-E49EC57AE3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26123"/>
            <a:ext cx="5550877" cy="1195753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BDA6AFB2-F0E1-4AE4-BEB2-720267B4963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2121877"/>
            <a:ext cx="5550877" cy="380999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58406555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sida - centrerad lju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4">
            <a:extLst>
              <a:ext uri="{FF2B5EF4-FFF2-40B4-BE49-F238E27FC236}">
                <a16:creationId xmlns:a16="http://schemas.microsoft.com/office/drawing/2014/main" id="{B335A87A-B35F-484A-BFA9-90E447DE70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90029" y="410308"/>
            <a:ext cx="644770" cy="644770"/>
          </a:xfrm>
          <a:prstGeom prst="rect">
            <a:avLst/>
          </a:prstGeom>
        </p:spPr>
      </p:pic>
      <p:sp>
        <p:nvSpPr>
          <p:cNvPr id="3" name="Rubrik 2">
            <a:extLst>
              <a:ext uri="{FF2B5EF4-FFF2-40B4-BE49-F238E27FC236}">
                <a16:creationId xmlns:a16="http://schemas.microsoft.com/office/drawing/2014/main" id="{485F34FD-CF15-47C6-AD1F-CDAE7D5F5F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1314" y="1981201"/>
            <a:ext cx="6969369" cy="1195754"/>
          </a:xfrm>
        </p:spPr>
        <p:txBody>
          <a:bodyPr/>
          <a:lstStyle>
            <a:lvl1pPr algn="ctr">
              <a:defRPr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8507A244-CD01-4863-A5BA-A3295EE7A5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11316" y="3176955"/>
            <a:ext cx="6969369" cy="2180492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6712767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sida - vänsterställd - lju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4">
            <a:extLst>
              <a:ext uri="{FF2B5EF4-FFF2-40B4-BE49-F238E27FC236}">
                <a16:creationId xmlns:a16="http://schemas.microsoft.com/office/drawing/2014/main" id="{E88FCE44-569B-4516-AC9B-E716D0A853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90029" y="410308"/>
            <a:ext cx="644770" cy="644770"/>
          </a:xfrm>
          <a:prstGeom prst="rect">
            <a:avLst/>
          </a:prstGeom>
        </p:spPr>
      </p:pic>
      <p:sp>
        <p:nvSpPr>
          <p:cNvPr id="5" name="Rubrik 4">
            <a:extLst>
              <a:ext uri="{FF2B5EF4-FFF2-40B4-BE49-F238E27FC236}">
                <a16:creationId xmlns:a16="http://schemas.microsoft.com/office/drawing/2014/main" id="{E1951109-5FB7-4F36-A460-E49EC57AE3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26123"/>
            <a:ext cx="5550877" cy="1195753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BDA6AFB2-F0E1-4AE4-BEB2-720267B4963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2121877"/>
            <a:ext cx="5550877" cy="380999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5840655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En rubrik och 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B5948AE-B8A7-4000-B08D-FD08594BF8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73496" y="972000"/>
            <a:ext cx="8640000" cy="1325563"/>
          </a:xfrm>
        </p:spPr>
        <p:txBody>
          <a:bodyPr anchor="b" anchorCtr="0">
            <a:noAutofit/>
          </a:bodyPr>
          <a:lstStyle>
            <a:lvl1pPr>
              <a:defRPr sz="3600"/>
            </a:lvl1pPr>
          </a:lstStyle>
          <a:p>
            <a:r>
              <a:rPr lang="sv-SE" dirty="0"/>
              <a:t>Rubrik på en ra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392B27C-79B3-42A9-ADBC-D4CB29DF52F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773496" y="2484000"/>
            <a:ext cx="4140000" cy="32400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2000"/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600"/>
            </a:lvl3pPr>
          </a:lstStyle>
          <a:p>
            <a:pPr lvl="0"/>
            <a:r>
              <a:rPr lang="sv-SE" dirty="0"/>
              <a:t>Lägg till innehåll eller skriv 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91BFD846-89A8-413D-9B4E-79A0C286829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3496" y="2484000"/>
            <a:ext cx="4140000" cy="32400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2000"/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600"/>
            </a:lvl3pPr>
          </a:lstStyle>
          <a:p>
            <a:pPr lvl="0"/>
            <a:r>
              <a:rPr lang="sv-SE" dirty="0"/>
              <a:t>Lägg till innehåll eller skriv 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44278D66-6239-4120-87FD-AF687B658D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61A35B-5759-402D-A031-2298209AB0E2}" type="datetimeFigureOut">
              <a:rPr lang="sv-SE" smtClean="0"/>
              <a:t>2025-12-03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D1D86113-5BDD-4567-921A-D416519CF5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1640086D-4C59-4640-B415-83D1F560F6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95FCE1-8E5F-4560-B29E-7FB78EB7A839}" type="slidenum">
              <a:rPr lang="sv-SE" smtClean="0"/>
              <a:t>‹#›</a:t>
            </a:fld>
            <a:endParaRPr lang="sv-SE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5C430EC2-426A-4AEF-9877-11E250564623}"/>
              </a:ext>
            </a:extLst>
          </p:cNvPr>
          <p:cNvSpPr/>
          <p:nvPr/>
        </p:nvSpPr>
        <p:spPr>
          <a:xfrm>
            <a:off x="1" y="0"/>
            <a:ext cx="34559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3557199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sida - centrerad lju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4">
            <a:extLst>
              <a:ext uri="{FF2B5EF4-FFF2-40B4-BE49-F238E27FC236}">
                <a16:creationId xmlns:a16="http://schemas.microsoft.com/office/drawing/2014/main" id="{B335A87A-B35F-484A-BFA9-90E447DE70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90029" y="410308"/>
            <a:ext cx="644770" cy="644770"/>
          </a:xfrm>
          <a:prstGeom prst="rect">
            <a:avLst/>
          </a:prstGeom>
        </p:spPr>
      </p:pic>
      <p:sp>
        <p:nvSpPr>
          <p:cNvPr id="3" name="Rubrik 2">
            <a:extLst>
              <a:ext uri="{FF2B5EF4-FFF2-40B4-BE49-F238E27FC236}">
                <a16:creationId xmlns:a16="http://schemas.microsoft.com/office/drawing/2014/main" id="{485F34FD-CF15-47C6-AD1F-CDAE7D5F5F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1314" y="1981201"/>
            <a:ext cx="6969369" cy="1195754"/>
          </a:xfrm>
        </p:spPr>
        <p:txBody>
          <a:bodyPr/>
          <a:lstStyle>
            <a:lvl1pPr algn="ctr">
              <a:defRPr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8507A244-CD01-4863-A5BA-A3295EE7A5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11316" y="3176955"/>
            <a:ext cx="6969369" cy="2180492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6712767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sida - vänsterställd - lju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4">
            <a:extLst>
              <a:ext uri="{FF2B5EF4-FFF2-40B4-BE49-F238E27FC236}">
                <a16:creationId xmlns:a16="http://schemas.microsoft.com/office/drawing/2014/main" id="{E88FCE44-569B-4516-AC9B-E716D0A853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90029" y="410308"/>
            <a:ext cx="644770" cy="644770"/>
          </a:xfrm>
          <a:prstGeom prst="rect">
            <a:avLst/>
          </a:prstGeom>
        </p:spPr>
      </p:pic>
      <p:sp>
        <p:nvSpPr>
          <p:cNvPr id="5" name="Rubrik 4">
            <a:extLst>
              <a:ext uri="{FF2B5EF4-FFF2-40B4-BE49-F238E27FC236}">
                <a16:creationId xmlns:a16="http://schemas.microsoft.com/office/drawing/2014/main" id="{E1951109-5FB7-4F36-A460-E49EC57AE3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26123"/>
            <a:ext cx="5550877" cy="1195753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BDA6AFB2-F0E1-4AE4-BEB2-720267B4963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2121877"/>
            <a:ext cx="5550877" cy="380999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58406555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sida - centrerad lju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4">
            <a:extLst>
              <a:ext uri="{FF2B5EF4-FFF2-40B4-BE49-F238E27FC236}">
                <a16:creationId xmlns:a16="http://schemas.microsoft.com/office/drawing/2014/main" id="{B335A87A-B35F-484A-BFA9-90E447DE70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90029" y="410308"/>
            <a:ext cx="644770" cy="644770"/>
          </a:xfrm>
          <a:prstGeom prst="rect">
            <a:avLst/>
          </a:prstGeom>
        </p:spPr>
      </p:pic>
      <p:sp>
        <p:nvSpPr>
          <p:cNvPr id="3" name="Rubrik 2">
            <a:extLst>
              <a:ext uri="{FF2B5EF4-FFF2-40B4-BE49-F238E27FC236}">
                <a16:creationId xmlns:a16="http://schemas.microsoft.com/office/drawing/2014/main" id="{485F34FD-CF15-47C6-AD1F-CDAE7D5F5F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1314" y="1981201"/>
            <a:ext cx="6969369" cy="1195754"/>
          </a:xfrm>
        </p:spPr>
        <p:txBody>
          <a:bodyPr/>
          <a:lstStyle>
            <a:lvl1pPr algn="ctr">
              <a:defRPr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8507A244-CD01-4863-A5BA-A3295EE7A5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11316" y="3176955"/>
            <a:ext cx="6969369" cy="2180492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6712767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sida - vänsterställd - lju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4">
            <a:extLst>
              <a:ext uri="{FF2B5EF4-FFF2-40B4-BE49-F238E27FC236}">
                <a16:creationId xmlns:a16="http://schemas.microsoft.com/office/drawing/2014/main" id="{E88FCE44-569B-4516-AC9B-E716D0A853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90029" y="410308"/>
            <a:ext cx="644770" cy="644770"/>
          </a:xfrm>
          <a:prstGeom prst="rect">
            <a:avLst/>
          </a:prstGeom>
        </p:spPr>
      </p:pic>
      <p:sp>
        <p:nvSpPr>
          <p:cNvPr id="5" name="Rubrik 4">
            <a:extLst>
              <a:ext uri="{FF2B5EF4-FFF2-40B4-BE49-F238E27FC236}">
                <a16:creationId xmlns:a16="http://schemas.microsoft.com/office/drawing/2014/main" id="{E1951109-5FB7-4F36-A460-E49EC57AE3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26123"/>
            <a:ext cx="5550877" cy="1195753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BDA6AFB2-F0E1-4AE4-BEB2-720267B4963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2121877"/>
            <a:ext cx="5550877" cy="380999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58406555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sida - centrerad lju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4">
            <a:extLst>
              <a:ext uri="{FF2B5EF4-FFF2-40B4-BE49-F238E27FC236}">
                <a16:creationId xmlns:a16="http://schemas.microsoft.com/office/drawing/2014/main" id="{B335A87A-B35F-484A-BFA9-90E447DE70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90029" y="410308"/>
            <a:ext cx="644770" cy="644770"/>
          </a:xfrm>
          <a:prstGeom prst="rect">
            <a:avLst/>
          </a:prstGeom>
        </p:spPr>
      </p:pic>
      <p:sp>
        <p:nvSpPr>
          <p:cNvPr id="3" name="Rubrik 2">
            <a:extLst>
              <a:ext uri="{FF2B5EF4-FFF2-40B4-BE49-F238E27FC236}">
                <a16:creationId xmlns:a16="http://schemas.microsoft.com/office/drawing/2014/main" id="{485F34FD-CF15-47C6-AD1F-CDAE7D5F5F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1314" y="1981201"/>
            <a:ext cx="6969369" cy="1195754"/>
          </a:xfrm>
        </p:spPr>
        <p:txBody>
          <a:bodyPr/>
          <a:lstStyle>
            <a:lvl1pPr algn="ctr">
              <a:defRPr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8507A244-CD01-4863-A5BA-A3295EE7A5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11316" y="3176955"/>
            <a:ext cx="6969369" cy="2180492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6712767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sida - vänsterställd - lju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4">
            <a:extLst>
              <a:ext uri="{FF2B5EF4-FFF2-40B4-BE49-F238E27FC236}">
                <a16:creationId xmlns:a16="http://schemas.microsoft.com/office/drawing/2014/main" id="{E88FCE44-569B-4516-AC9B-E716D0A853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90029" y="410308"/>
            <a:ext cx="644770" cy="644770"/>
          </a:xfrm>
          <a:prstGeom prst="rect">
            <a:avLst/>
          </a:prstGeom>
        </p:spPr>
      </p:pic>
      <p:sp>
        <p:nvSpPr>
          <p:cNvPr id="5" name="Rubrik 4">
            <a:extLst>
              <a:ext uri="{FF2B5EF4-FFF2-40B4-BE49-F238E27FC236}">
                <a16:creationId xmlns:a16="http://schemas.microsoft.com/office/drawing/2014/main" id="{E1951109-5FB7-4F36-A460-E49EC57AE3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26123"/>
            <a:ext cx="5550877" cy="1195753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BDA6AFB2-F0E1-4AE4-BEB2-720267B4963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2121877"/>
            <a:ext cx="5550877" cy="380999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58406555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sida - centrerad lju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4">
            <a:extLst>
              <a:ext uri="{FF2B5EF4-FFF2-40B4-BE49-F238E27FC236}">
                <a16:creationId xmlns:a16="http://schemas.microsoft.com/office/drawing/2014/main" id="{B335A87A-B35F-484A-BFA9-90E447DE70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90029" y="410308"/>
            <a:ext cx="644770" cy="644770"/>
          </a:xfrm>
          <a:prstGeom prst="rect">
            <a:avLst/>
          </a:prstGeom>
        </p:spPr>
      </p:pic>
      <p:sp>
        <p:nvSpPr>
          <p:cNvPr id="3" name="Rubrik 2">
            <a:extLst>
              <a:ext uri="{FF2B5EF4-FFF2-40B4-BE49-F238E27FC236}">
                <a16:creationId xmlns:a16="http://schemas.microsoft.com/office/drawing/2014/main" id="{485F34FD-CF15-47C6-AD1F-CDAE7D5F5F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1314" y="1981201"/>
            <a:ext cx="6969369" cy="1195754"/>
          </a:xfrm>
        </p:spPr>
        <p:txBody>
          <a:bodyPr/>
          <a:lstStyle>
            <a:lvl1pPr algn="ctr">
              <a:defRPr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8507A244-CD01-4863-A5BA-A3295EE7A5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11316" y="3176955"/>
            <a:ext cx="6969369" cy="2180492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6712767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sida - vänsterställd - lju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4">
            <a:extLst>
              <a:ext uri="{FF2B5EF4-FFF2-40B4-BE49-F238E27FC236}">
                <a16:creationId xmlns:a16="http://schemas.microsoft.com/office/drawing/2014/main" id="{E88FCE44-569B-4516-AC9B-E716D0A853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90029" y="410308"/>
            <a:ext cx="644770" cy="644770"/>
          </a:xfrm>
          <a:prstGeom prst="rect">
            <a:avLst/>
          </a:prstGeom>
        </p:spPr>
      </p:pic>
      <p:sp>
        <p:nvSpPr>
          <p:cNvPr id="5" name="Rubrik 4">
            <a:extLst>
              <a:ext uri="{FF2B5EF4-FFF2-40B4-BE49-F238E27FC236}">
                <a16:creationId xmlns:a16="http://schemas.microsoft.com/office/drawing/2014/main" id="{E1951109-5FB7-4F36-A460-E49EC57AE3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26123"/>
            <a:ext cx="5550877" cy="1195753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BDA6AFB2-F0E1-4AE4-BEB2-720267B4963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2121877"/>
            <a:ext cx="5550877" cy="380999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58406555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sida - centrerad lju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4">
            <a:extLst>
              <a:ext uri="{FF2B5EF4-FFF2-40B4-BE49-F238E27FC236}">
                <a16:creationId xmlns:a16="http://schemas.microsoft.com/office/drawing/2014/main" id="{B335A87A-B35F-484A-BFA9-90E447DE70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90029" y="410308"/>
            <a:ext cx="644770" cy="644770"/>
          </a:xfrm>
          <a:prstGeom prst="rect">
            <a:avLst/>
          </a:prstGeom>
        </p:spPr>
      </p:pic>
      <p:sp>
        <p:nvSpPr>
          <p:cNvPr id="3" name="Rubrik 2">
            <a:extLst>
              <a:ext uri="{FF2B5EF4-FFF2-40B4-BE49-F238E27FC236}">
                <a16:creationId xmlns:a16="http://schemas.microsoft.com/office/drawing/2014/main" id="{485F34FD-CF15-47C6-AD1F-CDAE7D5F5F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1314" y="1981201"/>
            <a:ext cx="6969369" cy="1195754"/>
          </a:xfrm>
        </p:spPr>
        <p:txBody>
          <a:bodyPr/>
          <a:lstStyle>
            <a:lvl1pPr algn="ctr">
              <a:defRPr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8507A244-CD01-4863-A5BA-A3295EE7A5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11316" y="3176955"/>
            <a:ext cx="6969369" cy="2180492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6712767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sida - vänsterställd - lju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4">
            <a:extLst>
              <a:ext uri="{FF2B5EF4-FFF2-40B4-BE49-F238E27FC236}">
                <a16:creationId xmlns:a16="http://schemas.microsoft.com/office/drawing/2014/main" id="{E88FCE44-569B-4516-AC9B-E716D0A853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90029" y="410308"/>
            <a:ext cx="644770" cy="644770"/>
          </a:xfrm>
          <a:prstGeom prst="rect">
            <a:avLst/>
          </a:prstGeom>
        </p:spPr>
      </p:pic>
      <p:sp>
        <p:nvSpPr>
          <p:cNvPr id="5" name="Rubrik 4">
            <a:extLst>
              <a:ext uri="{FF2B5EF4-FFF2-40B4-BE49-F238E27FC236}">
                <a16:creationId xmlns:a16="http://schemas.microsoft.com/office/drawing/2014/main" id="{E1951109-5FB7-4F36-A460-E49EC57AE3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26123"/>
            <a:ext cx="5550877" cy="1195753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BDA6AFB2-F0E1-4AE4-BEB2-720267B4963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2121877"/>
            <a:ext cx="5550877" cy="380999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5840655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 rubrik och två underrubri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282DF18E-7E8D-4A71-890C-3CFB2327709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776809" y="1477692"/>
            <a:ext cx="4140001" cy="82391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dirty="0"/>
              <a:t>Rubrik på en eller två rader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A46B3D42-77C7-4FA8-AA30-92017FA612DA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76809" y="1481733"/>
            <a:ext cx="4140000" cy="82391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dirty="0"/>
              <a:t>Rubrik på en eller två rader</a:t>
            </a:r>
          </a:p>
        </p:txBody>
      </p:sp>
      <p:sp>
        <p:nvSpPr>
          <p:cNvPr id="7" name="Platshållare för datum 6">
            <a:extLst>
              <a:ext uri="{FF2B5EF4-FFF2-40B4-BE49-F238E27FC236}">
                <a16:creationId xmlns:a16="http://schemas.microsoft.com/office/drawing/2014/main" id="{ACDCC492-7BCC-4ED9-B2C6-C005B30C51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61A35B-5759-402D-A031-2298209AB0E2}" type="datetimeFigureOut">
              <a:rPr lang="sv-SE" smtClean="0"/>
              <a:t>2025-12-03</a:t>
            </a:fld>
            <a:endParaRPr lang="sv-SE"/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A2A9FDD7-8709-4118-8A52-E0DB7693F5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id="{9AC5545E-7744-463D-8795-8ACFFF917D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95FCE1-8E5F-4560-B29E-7FB78EB7A839}" type="slidenum">
              <a:rPr lang="sv-SE" smtClean="0"/>
              <a:t>‹#›</a:t>
            </a:fld>
            <a:endParaRPr lang="sv-SE"/>
          </a:p>
        </p:txBody>
      </p:sp>
      <p:sp>
        <p:nvSpPr>
          <p:cNvPr id="10" name="Rubrik 1">
            <a:extLst>
              <a:ext uri="{FF2B5EF4-FFF2-40B4-BE49-F238E27FC236}">
                <a16:creationId xmlns:a16="http://schemas.microsoft.com/office/drawing/2014/main" id="{D01EF920-89B6-43FE-BC82-D3F3F4E246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76809" y="585044"/>
            <a:ext cx="8640000" cy="710252"/>
          </a:xfrm>
        </p:spPr>
        <p:txBody>
          <a:bodyPr anchor="b" anchorCtr="0">
            <a:noAutofit/>
          </a:bodyPr>
          <a:lstStyle>
            <a:lvl1pPr>
              <a:defRPr sz="3600"/>
            </a:lvl1pPr>
          </a:lstStyle>
          <a:p>
            <a:r>
              <a:rPr lang="sv-SE" dirty="0"/>
              <a:t>Rubrik på en rad</a:t>
            </a:r>
          </a:p>
        </p:txBody>
      </p:sp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D4D9B012-53D8-4F15-8B22-2FDE176255A1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1776809" y="2484000"/>
            <a:ext cx="4140000" cy="32400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2000"/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600"/>
            </a:lvl3pPr>
          </a:lstStyle>
          <a:p>
            <a:pPr lvl="0"/>
            <a:r>
              <a:rPr lang="sv-SE" dirty="0"/>
              <a:t>Lägg till innehåll eller skriv 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2" name="Platshållare för innehåll 3">
            <a:extLst>
              <a:ext uri="{FF2B5EF4-FFF2-40B4-BE49-F238E27FC236}">
                <a16:creationId xmlns:a16="http://schemas.microsoft.com/office/drawing/2014/main" id="{C670D3A9-CE21-4ECA-B331-6CD15F9616B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6809" y="2484000"/>
            <a:ext cx="4140000" cy="32400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2000"/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600"/>
            </a:lvl3pPr>
          </a:lstStyle>
          <a:p>
            <a:pPr lvl="0"/>
            <a:r>
              <a:rPr lang="sv-SE" dirty="0"/>
              <a:t>Lägg till innehåll eller skriv 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7F6ACE35-4E6C-49D8-A224-4BBC04C46960}"/>
              </a:ext>
            </a:extLst>
          </p:cNvPr>
          <p:cNvSpPr/>
          <p:nvPr/>
        </p:nvSpPr>
        <p:spPr>
          <a:xfrm>
            <a:off x="1" y="0"/>
            <a:ext cx="34559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2330178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sida - centrerad lju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4">
            <a:extLst>
              <a:ext uri="{FF2B5EF4-FFF2-40B4-BE49-F238E27FC236}">
                <a16:creationId xmlns:a16="http://schemas.microsoft.com/office/drawing/2014/main" id="{B335A87A-B35F-484A-BFA9-90E447DE70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90029" y="410308"/>
            <a:ext cx="644770" cy="644770"/>
          </a:xfrm>
          <a:prstGeom prst="rect">
            <a:avLst/>
          </a:prstGeom>
        </p:spPr>
      </p:pic>
      <p:sp>
        <p:nvSpPr>
          <p:cNvPr id="3" name="Rubrik 2">
            <a:extLst>
              <a:ext uri="{FF2B5EF4-FFF2-40B4-BE49-F238E27FC236}">
                <a16:creationId xmlns:a16="http://schemas.microsoft.com/office/drawing/2014/main" id="{485F34FD-CF15-47C6-AD1F-CDAE7D5F5F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1314" y="1981201"/>
            <a:ext cx="6969369" cy="1195754"/>
          </a:xfrm>
        </p:spPr>
        <p:txBody>
          <a:bodyPr/>
          <a:lstStyle>
            <a:lvl1pPr algn="ctr">
              <a:defRPr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8507A244-CD01-4863-A5BA-A3295EE7A5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11316" y="3176955"/>
            <a:ext cx="6969369" cy="2180492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6712767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sida - vänsterställd - lju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4">
            <a:extLst>
              <a:ext uri="{FF2B5EF4-FFF2-40B4-BE49-F238E27FC236}">
                <a16:creationId xmlns:a16="http://schemas.microsoft.com/office/drawing/2014/main" id="{E88FCE44-569B-4516-AC9B-E716D0A853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90029" y="410308"/>
            <a:ext cx="644770" cy="644770"/>
          </a:xfrm>
          <a:prstGeom prst="rect">
            <a:avLst/>
          </a:prstGeom>
        </p:spPr>
      </p:pic>
      <p:sp>
        <p:nvSpPr>
          <p:cNvPr id="5" name="Rubrik 4">
            <a:extLst>
              <a:ext uri="{FF2B5EF4-FFF2-40B4-BE49-F238E27FC236}">
                <a16:creationId xmlns:a16="http://schemas.microsoft.com/office/drawing/2014/main" id="{E1951109-5FB7-4F36-A460-E49EC57AE3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26123"/>
            <a:ext cx="5550877" cy="1195753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BDA6AFB2-F0E1-4AE4-BEB2-720267B4963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2121877"/>
            <a:ext cx="5550877" cy="380999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58406555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sida - centrerad lju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4">
            <a:extLst>
              <a:ext uri="{FF2B5EF4-FFF2-40B4-BE49-F238E27FC236}">
                <a16:creationId xmlns:a16="http://schemas.microsoft.com/office/drawing/2014/main" id="{B335A87A-B35F-484A-BFA9-90E447DE70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90029" y="410308"/>
            <a:ext cx="644770" cy="644770"/>
          </a:xfrm>
          <a:prstGeom prst="rect">
            <a:avLst/>
          </a:prstGeom>
        </p:spPr>
      </p:pic>
      <p:sp>
        <p:nvSpPr>
          <p:cNvPr id="3" name="Rubrik 2">
            <a:extLst>
              <a:ext uri="{FF2B5EF4-FFF2-40B4-BE49-F238E27FC236}">
                <a16:creationId xmlns:a16="http://schemas.microsoft.com/office/drawing/2014/main" id="{485F34FD-CF15-47C6-AD1F-CDAE7D5F5F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1314" y="1981201"/>
            <a:ext cx="6969369" cy="1195754"/>
          </a:xfrm>
        </p:spPr>
        <p:txBody>
          <a:bodyPr/>
          <a:lstStyle>
            <a:lvl1pPr algn="ctr">
              <a:defRPr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8507A244-CD01-4863-A5BA-A3295EE7A5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11316" y="3176955"/>
            <a:ext cx="6969369" cy="2180492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6712767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sida - vänsterställd - lju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4">
            <a:extLst>
              <a:ext uri="{FF2B5EF4-FFF2-40B4-BE49-F238E27FC236}">
                <a16:creationId xmlns:a16="http://schemas.microsoft.com/office/drawing/2014/main" id="{E88FCE44-569B-4516-AC9B-E716D0A853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90029" y="410308"/>
            <a:ext cx="644770" cy="644770"/>
          </a:xfrm>
          <a:prstGeom prst="rect">
            <a:avLst/>
          </a:prstGeom>
        </p:spPr>
      </p:pic>
      <p:sp>
        <p:nvSpPr>
          <p:cNvPr id="5" name="Rubrik 4">
            <a:extLst>
              <a:ext uri="{FF2B5EF4-FFF2-40B4-BE49-F238E27FC236}">
                <a16:creationId xmlns:a16="http://schemas.microsoft.com/office/drawing/2014/main" id="{E1951109-5FB7-4F36-A460-E49EC57AE3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26123"/>
            <a:ext cx="5550877" cy="1195753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BDA6AFB2-F0E1-4AE4-BEB2-720267B4963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2121877"/>
            <a:ext cx="5550877" cy="380999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58406555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sida - centrerad lju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4">
            <a:extLst>
              <a:ext uri="{FF2B5EF4-FFF2-40B4-BE49-F238E27FC236}">
                <a16:creationId xmlns:a16="http://schemas.microsoft.com/office/drawing/2014/main" id="{B335A87A-B35F-484A-BFA9-90E447DE70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90029" y="410308"/>
            <a:ext cx="644770" cy="644770"/>
          </a:xfrm>
          <a:prstGeom prst="rect">
            <a:avLst/>
          </a:prstGeom>
        </p:spPr>
      </p:pic>
      <p:sp>
        <p:nvSpPr>
          <p:cNvPr id="3" name="Rubrik 2">
            <a:extLst>
              <a:ext uri="{FF2B5EF4-FFF2-40B4-BE49-F238E27FC236}">
                <a16:creationId xmlns:a16="http://schemas.microsoft.com/office/drawing/2014/main" id="{485F34FD-CF15-47C6-AD1F-CDAE7D5F5F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1314" y="1981201"/>
            <a:ext cx="6969369" cy="1195754"/>
          </a:xfrm>
        </p:spPr>
        <p:txBody>
          <a:bodyPr/>
          <a:lstStyle>
            <a:lvl1pPr algn="ctr">
              <a:defRPr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8507A244-CD01-4863-A5BA-A3295EE7A5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11316" y="3176955"/>
            <a:ext cx="6969369" cy="2180492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6712767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sida - vänsterställd - lju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4">
            <a:extLst>
              <a:ext uri="{FF2B5EF4-FFF2-40B4-BE49-F238E27FC236}">
                <a16:creationId xmlns:a16="http://schemas.microsoft.com/office/drawing/2014/main" id="{E88FCE44-569B-4516-AC9B-E716D0A853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90029" y="410308"/>
            <a:ext cx="644770" cy="644770"/>
          </a:xfrm>
          <a:prstGeom prst="rect">
            <a:avLst/>
          </a:prstGeom>
        </p:spPr>
      </p:pic>
      <p:sp>
        <p:nvSpPr>
          <p:cNvPr id="5" name="Rubrik 4">
            <a:extLst>
              <a:ext uri="{FF2B5EF4-FFF2-40B4-BE49-F238E27FC236}">
                <a16:creationId xmlns:a16="http://schemas.microsoft.com/office/drawing/2014/main" id="{E1951109-5FB7-4F36-A460-E49EC57AE3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26123"/>
            <a:ext cx="5550877" cy="1195753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BDA6AFB2-F0E1-4AE4-BEB2-720267B4963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2121877"/>
            <a:ext cx="5550877" cy="380999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58406555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sida - centrerad lju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4">
            <a:extLst>
              <a:ext uri="{FF2B5EF4-FFF2-40B4-BE49-F238E27FC236}">
                <a16:creationId xmlns:a16="http://schemas.microsoft.com/office/drawing/2014/main" id="{B335A87A-B35F-484A-BFA9-90E447DE70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90029" y="410308"/>
            <a:ext cx="644770" cy="644770"/>
          </a:xfrm>
          <a:prstGeom prst="rect">
            <a:avLst/>
          </a:prstGeom>
        </p:spPr>
      </p:pic>
      <p:sp>
        <p:nvSpPr>
          <p:cNvPr id="3" name="Rubrik 2">
            <a:extLst>
              <a:ext uri="{FF2B5EF4-FFF2-40B4-BE49-F238E27FC236}">
                <a16:creationId xmlns:a16="http://schemas.microsoft.com/office/drawing/2014/main" id="{485F34FD-CF15-47C6-AD1F-CDAE7D5F5F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1314" y="1981201"/>
            <a:ext cx="6969369" cy="1195754"/>
          </a:xfrm>
        </p:spPr>
        <p:txBody>
          <a:bodyPr/>
          <a:lstStyle>
            <a:lvl1pPr algn="ctr">
              <a:defRPr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8507A244-CD01-4863-A5BA-A3295EE7A5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11316" y="3176955"/>
            <a:ext cx="6969369" cy="2180492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6712767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sida - vänsterställd - lju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4">
            <a:extLst>
              <a:ext uri="{FF2B5EF4-FFF2-40B4-BE49-F238E27FC236}">
                <a16:creationId xmlns:a16="http://schemas.microsoft.com/office/drawing/2014/main" id="{E88FCE44-569B-4516-AC9B-E716D0A853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90029" y="410308"/>
            <a:ext cx="644770" cy="644770"/>
          </a:xfrm>
          <a:prstGeom prst="rect">
            <a:avLst/>
          </a:prstGeom>
        </p:spPr>
      </p:pic>
      <p:sp>
        <p:nvSpPr>
          <p:cNvPr id="5" name="Rubrik 4">
            <a:extLst>
              <a:ext uri="{FF2B5EF4-FFF2-40B4-BE49-F238E27FC236}">
                <a16:creationId xmlns:a16="http://schemas.microsoft.com/office/drawing/2014/main" id="{E1951109-5FB7-4F36-A460-E49EC57AE3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26123"/>
            <a:ext cx="5550877" cy="1195753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BDA6AFB2-F0E1-4AE4-BEB2-720267B4963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2121877"/>
            <a:ext cx="5550877" cy="380999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58406555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sida - centrerad lju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4">
            <a:extLst>
              <a:ext uri="{FF2B5EF4-FFF2-40B4-BE49-F238E27FC236}">
                <a16:creationId xmlns:a16="http://schemas.microsoft.com/office/drawing/2014/main" id="{B335A87A-B35F-484A-BFA9-90E447DE70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90029" y="410308"/>
            <a:ext cx="644770" cy="644770"/>
          </a:xfrm>
          <a:prstGeom prst="rect">
            <a:avLst/>
          </a:prstGeom>
        </p:spPr>
      </p:pic>
      <p:sp>
        <p:nvSpPr>
          <p:cNvPr id="3" name="Rubrik 2">
            <a:extLst>
              <a:ext uri="{FF2B5EF4-FFF2-40B4-BE49-F238E27FC236}">
                <a16:creationId xmlns:a16="http://schemas.microsoft.com/office/drawing/2014/main" id="{485F34FD-CF15-47C6-AD1F-CDAE7D5F5F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1314" y="1981201"/>
            <a:ext cx="6969369" cy="1195754"/>
          </a:xfrm>
        </p:spPr>
        <p:txBody>
          <a:bodyPr/>
          <a:lstStyle>
            <a:lvl1pPr algn="ctr">
              <a:defRPr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8507A244-CD01-4863-A5BA-A3295EE7A5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11316" y="3176955"/>
            <a:ext cx="6969369" cy="2180492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6712767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sida - vänsterställd - lju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4">
            <a:extLst>
              <a:ext uri="{FF2B5EF4-FFF2-40B4-BE49-F238E27FC236}">
                <a16:creationId xmlns:a16="http://schemas.microsoft.com/office/drawing/2014/main" id="{E88FCE44-569B-4516-AC9B-E716D0A853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90029" y="410308"/>
            <a:ext cx="644770" cy="644770"/>
          </a:xfrm>
          <a:prstGeom prst="rect">
            <a:avLst/>
          </a:prstGeom>
        </p:spPr>
      </p:pic>
      <p:sp>
        <p:nvSpPr>
          <p:cNvPr id="5" name="Rubrik 4">
            <a:extLst>
              <a:ext uri="{FF2B5EF4-FFF2-40B4-BE49-F238E27FC236}">
                <a16:creationId xmlns:a16="http://schemas.microsoft.com/office/drawing/2014/main" id="{E1951109-5FB7-4F36-A460-E49EC57AE3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26123"/>
            <a:ext cx="5550877" cy="1195753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BDA6AFB2-F0E1-4AE4-BEB2-720267B4963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2121877"/>
            <a:ext cx="5550877" cy="380999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5840655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B5948AE-B8A7-4000-B08D-FD08594BF8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03175" y="972000"/>
            <a:ext cx="4140000" cy="1325563"/>
          </a:xfrm>
        </p:spPr>
        <p:txBody>
          <a:bodyPr anchor="b" anchorCtr="0">
            <a:noAutofit/>
          </a:bodyPr>
          <a:lstStyle>
            <a:lvl1pPr>
              <a:defRPr sz="3600"/>
            </a:lvl1pPr>
          </a:lstStyle>
          <a:p>
            <a:r>
              <a:rPr lang="sv-SE" dirty="0"/>
              <a:t>Rubrik på en eller två rader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91BFD846-89A8-413D-9B4E-79A0C286829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7003175" y="2484000"/>
            <a:ext cx="4140000" cy="32400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2000"/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600"/>
            </a:lvl3pPr>
          </a:lstStyle>
          <a:p>
            <a:pPr lvl="0"/>
            <a:r>
              <a:rPr lang="sv-SE" dirty="0"/>
              <a:t>Lägg till innehåll eller skriv 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44278D66-6239-4120-87FD-AF687B658D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61A35B-5759-402D-A031-2298209AB0E2}" type="datetimeFigureOut">
              <a:rPr lang="sv-SE" smtClean="0"/>
              <a:t>2025-12-03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D1D86113-5BDD-4567-921A-D416519CF5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80E395B5-3017-4735-BEE7-B3DEC703BAA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45601" y="0"/>
            <a:ext cx="5750400" cy="6858000"/>
          </a:xfrm>
        </p:spPr>
        <p:txBody>
          <a:bodyPr tIns="0" bIns="1800000" anchor="ctr" anchorCtr="0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sv-SE" dirty="0"/>
              <a:t>Klicka på ikonen för att </a:t>
            </a:r>
            <a:br>
              <a:rPr lang="sv-SE" dirty="0"/>
            </a:br>
            <a:r>
              <a:rPr lang="sv-SE" dirty="0"/>
              <a:t>lägga till en bild</a:t>
            </a: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50831E66-BE42-4C10-8590-C12E77B62EBA}"/>
              </a:ext>
            </a:extLst>
          </p:cNvPr>
          <p:cNvSpPr/>
          <p:nvPr/>
        </p:nvSpPr>
        <p:spPr>
          <a:xfrm>
            <a:off x="1" y="0"/>
            <a:ext cx="34559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4683002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sida - centrerad lju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4">
            <a:extLst>
              <a:ext uri="{FF2B5EF4-FFF2-40B4-BE49-F238E27FC236}">
                <a16:creationId xmlns:a16="http://schemas.microsoft.com/office/drawing/2014/main" id="{B335A87A-B35F-484A-BFA9-90E447DE70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90029" y="410308"/>
            <a:ext cx="644770" cy="644770"/>
          </a:xfrm>
          <a:prstGeom prst="rect">
            <a:avLst/>
          </a:prstGeom>
        </p:spPr>
      </p:pic>
      <p:sp>
        <p:nvSpPr>
          <p:cNvPr id="3" name="Rubrik 2">
            <a:extLst>
              <a:ext uri="{FF2B5EF4-FFF2-40B4-BE49-F238E27FC236}">
                <a16:creationId xmlns:a16="http://schemas.microsoft.com/office/drawing/2014/main" id="{485F34FD-CF15-47C6-AD1F-CDAE7D5F5F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1314" y="1981201"/>
            <a:ext cx="6969369" cy="1195754"/>
          </a:xfrm>
        </p:spPr>
        <p:txBody>
          <a:bodyPr/>
          <a:lstStyle>
            <a:lvl1pPr algn="ctr">
              <a:defRPr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8507A244-CD01-4863-A5BA-A3295EE7A5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11316" y="3176955"/>
            <a:ext cx="6969369" cy="2180492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6712767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sida - vänsterställd - lju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4">
            <a:extLst>
              <a:ext uri="{FF2B5EF4-FFF2-40B4-BE49-F238E27FC236}">
                <a16:creationId xmlns:a16="http://schemas.microsoft.com/office/drawing/2014/main" id="{E88FCE44-569B-4516-AC9B-E716D0A853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90029" y="410308"/>
            <a:ext cx="644770" cy="644770"/>
          </a:xfrm>
          <a:prstGeom prst="rect">
            <a:avLst/>
          </a:prstGeom>
        </p:spPr>
      </p:pic>
      <p:sp>
        <p:nvSpPr>
          <p:cNvPr id="5" name="Rubrik 4">
            <a:extLst>
              <a:ext uri="{FF2B5EF4-FFF2-40B4-BE49-F238E27FC236}">
                <a16:creationId xmlns:a16="http://schemas.microsoft.com/office/drawing/2014/main" id="{E1951109-5FB7-4F36-A460-E49EC57AE3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26123"/>
            <a:ext cx="5550877" cy="1195753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BDA6AFB2-F0E1-4AE4-BEB2-720267B4963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2121877"/>
            <a:ext cx="5550877" cy="380999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58406555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vsnittssi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962D2034-1186-4CCA-9930-92AF40C37E5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1999" cy="6857999"/>
          </a:xfrm>
          <a:custGeom>
            <a:avLst/>
            <a:gdLst>
              <a:gd name="connsiteX0" fmla="*/ 11473653 w 12191999"/>
              <a:gd name="connsiteY0" fmla="*/ 875613 h 6857999"/>
              <a:gd name="connsiteX1" fmla="*/ 11506450 w 12191999"/>
              <a:gd name="connsiteY1" fmla="*/ 916490 h 6857999"/>
              <a:gd name="connsiteX2" fmla="*/ 11513448 w 12191999"/>
              <a:gd name="connsiteY2" fmla="*/ 968429 h 6857999"/>
              <a:gd name="connsiteX3" fmla="*/ 11502120 w 12191999"/>
              <a:gd name="connsiteY3" fmla="*/ 958910 h 6857999"/>
              <a:gd name="connsiteX4" fmla="*/ 11478122 w 12191999"/>
              <a:gd name="connsiteY4" fmla="*/ 920598 h 6857999"/>
              <a:gd name="connsiteX5" fmla="*/ 11269340 w 12191999"/>
              <a:gd name="connsiteY5" fmla="*/ 793933 h 6857999"/>
              <a:gd name="connsiteX6" fmla="*/ 11176536 w 12191999"/>
              <a:gd name="connsiteY6" fmla="*/ 833728 h 6857999"/>
              <a:gd name="connsiteX7" fmla="*/ 11197905 w 12191999"/>
              <a:gd name="connsiteY7" fmla="*/ 972327 h 6857999"/>
              <a:gd name="connsiteX8" fmla="*/ 11317098 w 12191999"/>
              <a:gd name="connsiteY8" fmla="*/ 970850 h 6857999"/>
              <a:gd name="connsiteX9" fmla="*/ 11354574 w 12191999"/>
              <a:gd name="connsiteY9" fmla="*/ 877078 h 6857999"/>
              <a:gd name="connsiteX10" fmla="*/ 11269340 w 12191999"/>
              <a:gd name="connsiteY10" fmla="*/ 793933 h 6857999"/>
              <a:gd name="connsiteX11" fmla="*/ 11556798 w 12191999"/>
              <a:gd name="connsiteY11" fmla="*/ 790378 h 6857999"/>
              <a:gd name="connsiteX12" fmla="*/ 11482841 w 12191999"/>
              <a:gd name="connsiteY12" fmla="*/ 844745 h 6857999"/>
              <a:gd name="connsiteX13" fmla="*/ 11473653 w 12191999"/>
              <a:gd name="connsiteY13" fmla="*/ 875613 h 6857999"/>
              <a:gd name="connsiteX14" fmla="*/ 11473653 w 12191999"/>
              <a:gd name="connsiteY14" fmla="*/ 875612 h 6857999"/>
              <a:gd name="connsiteX15" fmla="*/ 11354575 w 12191999"/>
              <a:gd name="connsiteY15" fmla="*/ 877078 h 6857999"/>
              <a:gd name="connsiteX16" fmla="*/ 11317099 w 12191999"/>
              <a:gd name="connsiteY16" fmla="*/ 970850 h 6857999"/>
              <a:gd name="connsiteX17" fmla="*/ 11430219 w 12191999"/>
              <a:gd name="connsiteY17" fmla="*/ 1053736 h 6857999"/>
              <a:gd name="connsiteX18" fmla="*/ 11513448 w 12191999"/>
              <a:gd name="connsiteY18" fmla="*/ 968429 h 6857999"/>
              <a:gd name="connsiteX19" fmla="*/ 11652040 w 12191999"/>
              <a:gd name="connsiteY19" fmla="*/ 947139 h 6857999"/>
              <a:gd name="connsiteX20" fmla="*/ 11650557 w 12191999"/>
              <a:gd name="connsiteY20" fmla="*/ 827866 h 6857999"/>
              <a:gd name="connsiteX21" fmla="*/ 11635827 w 12191999"/>
              <a:gd name="connsiteY21" fmla="*/ 829141 h 6857999"/>
              <a:gd name="connsiteX22" fmla="*/ 11556798 w 12191999"/>
              <a:gd name="connsiteY22" fmla="*/ 790378 h 6857999"/>
              <a:gd name="connsiteX23" fmla="*/ 11174127 w 12191999"/>
              <a:gd name="connsiteY23" fmla="*/ 637379 h 6857999"/>
              <a:gd name="connsiteX24" fmla="*/ 11091248 w 12191999"/>
              <a:gd name="connsiteY24" fmla="*/ 750504 h 6857999"/>
              <a:gd name="connsiteX25" fmla="*/ 11176561 w 12191999"/>
              <a:gd name="connsiteY25" fmla="*/ 833728 h 6857999"/>
              <a:gd name="connsiteX26" fmla="*/ 11186080 w 12191999"/>
              <a:gd name="connsiteY26" fmla="*/ 822400 h 6857999"/>
              <a:gd name="connsiteX27" fmla="*/ 11269339 w 12191999"/>
              <a:gd name="connsiteY27" fmla="*/ 793933 h 6857999"/>
              <a:gd name="connsiteX28" fmla="*/ 11267874 w 12191999"/>
              <a:gd name="connsiteY28" fmla="*/ 674855 h 6857999"/>
              <a:gd name="connsiteX29" fmla="*/ 11182805 w 12191999"/>
              <a:gd name="connsiteY29" fmla="*/ 647382 h 6857999"/>
              <a:gd name="connsiteX30" fmla="*/ 11174127 w 12191999"/>
              <a:gd name="connsiteY30" fmla="*/ 637379 h 6857999"/>
              <a:gd name="connsiteX31" fmla="*/ 11566960 w 12191999"/>
              <a:gd name="connsiteY31" fmla="*/ 473719 h 6857999"/>
              <a:gd name="connsiteX32" fmla="*/ 11507574 w 12191999"/>
              <a:gd name="connsiteY32" fmla="*/ 494408 h 6857999"/>
              <a:gd name="connsiteX33" fmla="*/ 11501865 w 12191999"/>
              <a:gd name="connsiteY33" fmla="*/ 546501 h 6857999"/>
              <a:gd name="connsiteX34" fmla="*/ 11470104 w 12191999"/>
              <a:gd name="connsiteY34" fmla="*/ 588173 h 6857999"/>
              <a:gd name="connsiteX35" fmla="*/ 11470098 w 12191999"/>
              <a:gd name="connsiteY35" fmla="*/ 588155 h 6857999"/>
              <a:gd name="connsiteX36" fmla="*/ 11470098 w 12191999"/>
              <a:gd name="connsiteY36" fmla="*/ 588180 h 6857999"/>
              <a:gd name="connsiteX37" fmla="*/ 11470104 w 12191999"/>
              <a:gd name="connsiteY37" fmla="*/ 588173 h 6857999"/>
              <a:gd name="connsiteX38" fmla="*/ 11480050 w 12191999"/>
              <a:gd name="connsiteY38" fmla="*/ 618787 h 6857999"/>
              <a:gd name="connsiteX39" fmla="*/ 11555333 w 12191999"/>
              <a:gd name="connsiteY39" fmla="*/ 671312 h 6857999"/>
              <a:gd name="connsiteX40" fmla="*/ 11621467 w 12191999"/>
              <a:gd name="connsiteY40" fmla="*/ 631489 h 6857999"/>
              <a:gd name="connsiteX41" fmla="*/ 11648148 w 12191999"/>
              <a:gd name="connsiteY41" fmla="*/ 631505 h 6857999"/>
              <a:gd name="connsiteX42" fmla="*/ 11607295 w 12191999"/>
              <a:gd name="connsiteY42" fmla="*/ 664326 h 6857999"/>
              <a:gd name="connsiteX43" fmla="*/ 11555358 w 12191999"/>
              <a:gd name="connsiteY43" fmla="*/ 671312 h 6857999"/>
              <a:gd name="connsiteX44" fmla="*/ 11556823 w 12191999"/>
              <a:gd name="connsiteY44" fmla="*/ 790377 h 6857999"/>
              <a:gd name="connsiteX45" fmla="*/ 11641892 w 12191999"/>
              <a:gd name="connsiteY45" fmla="*/ 817863 h 6857999"/>
              <a:gd name="connsiteX46" fmla="*/ 11650583 w 12191999"/>
              <a:gd name="connsiteY46" fmla="*/ 827853 h 6857999"/>
              <a:gd name="connsiteX47" fmla="*/ 11734645 w 12191999"/>
              <a:gd name="connsiteY47" fmla="*/ 729405 h 6857999"/>
              <a:gd name="connsiteX48" fmla="*/ 11682417 w 12191999"/>
              <a:gd name="connsiteY48" fmla="*/ 642503 h 6857999"/>
              <a:gd name="connsiteX49" fmla="*/ 11648149 w 12191999"/>
              <a:gd name="connsiteY49" fmla="*/ 631504 h 6857999"/>
              <a:gd name="connsiteX50" fmla="*/ 11664694 w 12191999"/>
              <a:gd name="connsiteY50" fmla="*/ 595778 h 6857999"/>
              <a:gd name="connsiteX51" fmla="*/ 11626846 w 12191999"/>
              <a:gd name="connsiteY51" fmla="*/ 492914 h 6857999"/>
              <a:gd name="connsiteX52" fmla="*/ 11566960 w 12191999"/>
              <a:gd name="connsiteY52" fmla="*/ 473719 h 6857999"/>
              <a:gd name="connsiteX53" fmla="*/ 11394448 w 12191999"/>
              <a:gd name="connsiteY53" fmla="*/ 411528 h 6857999"/>
              <a:gd name="connsiteX54" fmla="*/ 11320474 w 12191999"/>
              <a:gd name="connsiteY54" fmla="*/ 465981 h 6857999"/>
              <a:gd name="connsiteX55" fmla="*/ 11311225 w 12191999"/>
              <a:gd name="connsiteY55" fmla="*/ 496838 h 6857999"/>
              <a:gd name="connsiteX56" fmla="*/ 11311225 w 12191999"/>
              <a:gd name="connsiteY56" fmla="*/ 496816 h 6857999"/>
              <a:gd name="connsiteX57" fmla="*/ 11172642 w 12191999"/>
              <a:gd name="connsiteY57" fmla="*/ 518286 h 6857999"/>
              <a:gd name="connsiteX58" fmla="*/ 11174128 w 12191999"/>
              <a:gd name="connsiteY58" fmla="*/ 637379 h 6857999"/>
              <a:gd name="connsiteX59" fmla="*/ 11226221 w 12191999"/>
              <a:gd name="connsiteY59" fmla="*/ 643087 h 6857999"/>
              <a:gd name="connsiteX60" fmla="*/ 11267893 w 12191999"/>
              <a:gd name="connsiteY60" fmla="*/ 674848 h 6857999"/>
              <a:gd name="connsiteX61" fmla="*/ 11267875 w 12191999"/>
              <a:gd name="connsiteY61" fmla="*/ 674854 h 6857999"/>
              <a:gd name="connsiteX62" fmla="*/ 11267900 w 12191999"/>
              <a:gd name="connsiteY62" fmla="*/ 674854 h 6857999"/>
              <a:gd name="connsiteX63" fmla="*/ 11267893 w 12191999"/>
              <a:gd name="connsiteY63" fmla="*/ 674848 h 6857999"/>
              <a:gd name="connsiteX64" fmla="*/ 11298506 w 12191999"/>
              <a:gd name="connsiteY64" fmla="*/ 664903 h 6857999"/>
              <a:gd name="connsiteX65" fmla="*/ 11351019 w 12191999"/>
              <a:gd name="connsiteY65" fmla="*/ 589620 h 6857999"/>
              <a:gd name="connsiteX66" fmla="*/ 11311213 w 12191999"/>
              <a:gd name="connsiteY66" fmla="*/ 523493 h 6857999"/>
              <a:gd name="connsiteX67" fmla="*/ 11311225 w 12191999"/>
              <a:gd name="connsiteY67" fmla="*/ 496842 h 6857999"/>
              <a:gd name="connsiteX68" fmla="*/ 11322552 w 12191999"/>
              <a:gd name="connsiteY68" fmla="*/ 506360 h 6857999"/>
              <a:gd name="connsiteX69" fmla="*/ 11351019 w 12191999"/>
              <a:gd name="connsiteY69" fmla="*/ 589619 h 6857999"/>
              <a:gd name="connsiteX70" fmla="*/ 11470097 w 12191999"/>
              <a:gd name="connsiteY70" fmla="*/ 588154 h 6857999"/>
              <a:gd name="connsiteX71" fmla="*/ 11497583 w 12191999"/>
              <a:gd name="connsiteY71" fmla="*/ 503085 h 6857999"/>
              <a:gd name="connsiteX72" fmla="*/ 11507573 w 12191999"/>
              <a:gd name="connsiteY72" fmla="*/ 494407 h 6857999"/>
              <a:gd name="connsiteX73" fmla="*/ 11394448 w 12191999"/>
              <a:gd name="connsiteY73" fmla="*/ 411528 h 6857999"/>
              <a:gd name="connsiteX74" fmla="*/ 0 w 12191999"/>
              <a:gd name="connsiteY74" fmla="*/ 0 h 6857999"/>
              <a:gd name="connsiteX75" fmla="*/ 12191999 w 12191999"/>
              <a:gd name="connsiteY75" fmla="*/ 0 h 6857999"/>
              <a:gd name="connsiteX76" fmla="*/ 12191999 w 12191999"/>
              <a:gd name="connsiteY76" fmla="*/ 6857999 h 6857999"/>
              <a:gd name="connsiteX77" fmla="*/ 0 w 12191999"/>
              <a:gd name="connsiteY77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12191999" h="6857999">
                <a:moveTo>
                  <a:pt x="11473653" y="875613"/>
                </a:moveTo>
                <a:lnTo>
                  <a:pt x="11506450" y="916490"/>
                </a:lnTo>
                <a:cubicBezTo>
                  <a:pt x="11513339" y="932557"/>
                  <a:pt x="11515928" y="950468"/>
                  <a:pt x="11513448" y="968429"/>
                </a:cubicBezTo>
                <a:cubicBezTo>
                  <a:pt x="11509443" y="965537"/>
                  <a:pt x="11505657" y="962357"/>
                  <a:pt x="11502120" y="958910"/>
                </a:cubicBezTo>
                <a:cubicBezTo>
                  <a:pt x="11491127" y="948015"/>
                  <a:pt x="11482997" y="934863"/>
                  <a:pt x="11478122" y="920598"/>
                </a:cubicBezTo>
                <a:close/>
                <a:moveTo>
                  <a:pt x="11269340" y="793933"/>
                </a:moveTo>
                <a:cubicBezTo>
                  <a:pt x="11248168" y="823368"/>
                  <a:pt x="11212454" y="838682"/>
                  <a:pt x="11176536" y="833728"/>
                </a:cubicBezTo>
                <a:cubicBezTo>
                  <a:pt x="11144164" y="877902"/>
                  <a:pt x="11153731" y="939954"/>
                  <a:pt x="11197905" y="972327"/>
                </a:cubicBezTo>
                <a:cubicBezTo>
                  <a:pt x="11233531" y="998435"/>
                  <a:pt x="11282131" y="997833"/>
                  <a:pt x="11317098" y="970850"/>
                </a:cubicBezTo>
                <a:cubicBezTo>
                  <a:pt x="11311254" y="935064"/>
                  <a:pt x="11325674" y="898978"/>
                  <a:pt x="11354574" y="877078"/>
                </a:cubicBezTo>
                <a:cubicBezTo>
                  <a:pt x="11347953" y="833421"/>
                  <a:pt x="11313147" y="799470"/>
                  <a:pt x="11269340" y="793933"/>
                </a:cubicBezTo>
                <a:close/>
                <a:moveTo>
                  <a:pt x="11556798" y="790378"/>
                </a:moveTo>
                <a:cubicBezTo>
                  <a:pt x="11524055" y="795344"/>
                  <a:pt x="11496772" y="816164"/>
                  <a:pt x="11482841" y="844745"/>
                </a:cubicBezTo>
                <a:lnTo>
                  <a:pt x="11473653" y="875613"/>
                </a:lnTo>
                <a:lnTo>
                  <a:pt x="11473653" y="875612"/>
                </a:lnTo>
                <a:cubicBezTo>
                  <a:pt x="11438098" y="849421"/>
                  <a:pt x="11389475" y="850019"/>
                  <a:pt x="11354575" y="877078"/>
                </a:cubicBezTo>
                <a:cubicBezTo>
                  <a:pt x="11360431" y="912865"/>
                  <a:pt x="11346008" y="948957"/>
                  <a:pt x="11317099" y="970850"/>
                </a:cubicBezTo>
                <a:cubicBezTo>
                  <a:pt x="11325448" y="1024975"/>
                  <a:pt x="11376093" y="1062085"/>
                  <a:pt x="11430219" y="1053736"/>
                </a:cubicBezTo>
                <a:cubicBezTo>
                  <a:pt x="11473862" y="1047004"/>
                  <a:pt x="11507794" y="1012225"/>
                  <a:pt x="11513448" y="968429"/>
                </a:cubicBezTo>
                <a:cubicBezTo>
                  <a:pt x="11557598" y="1000820"/>
                  <a:pt x="11619649" y="991289"/>
                  <a:pt x="11652040" y="947139"/>
                </a:cubicBezTo>
                <a:cubicBezTo>
                  <a:pt x="11678190" y="911495"/>
                  <a:pt x="11677585" y="862847"/>
                  <a:pt x="11650557" y="827866"/>
                </a:cubicBezTo>
                <a:cubicBezTo>
                  <a:pt x="11645686" y="828654"/>
                  <a:pt x="11640762" y="829080"/>
                  <a:pt x="11635827" y="829141"/>
                </a:cubicBezTo>
                <a:cubicBezTo>
                  <a:pt x="11604875" y="829274"/>
                  <a:pt x="11575639" y="814934"/>
                  <a:pt x="11556798" y="790378"/>
                </a:cubicBezTo>
                <a:close/>
                <a:moveTo>
                  <a:pt x="11174127" y="637379"/>
                </a:moveTo>
                <a:cubicBezTo>
                  <a:pt x="11120002" y="645730"/>
                  <a:pt x="11082896" y="696378"/>
                  <a:pt x="11091248" y="750504"/>
                </a:cubicBezTo>
                <a:cubicBezTo>
                  <a:pt x="11097982" y="794147"/>
                  <a:pt x="11132765" y="828077"/>
                  <a:pt x="11176561" y="833728"/>
                </a:cubicBezTo>
                <a:cubicBezTo>
                  <a:pt x="11179452" y="829723"/>
                  <a:pt x="11182633" y="825937"/>
                  <a:pt x="11186080" y="822400"/>
                </a:cubicBezTo>
                <a:cubicBezTo>
                  <a:pt x="11207861" y="800424"/>
                  <a:pt x="11238663" y="789893"/>
                  <a:pt x="11269339" y="793933"/>
                </a:cubicBezTo>
                <a:cubicBezTo>
                  <a:pt x="11295530" y="758378"/>
                  <a:pt x="11294933" y="709755"/>
                  <a:pt x="11267874" y="674855"/>
                </a:cubicBezTo>
                <a:cubicBezTo>
                  <a:pt x="11236762" y="679748"/>
                  <a:pt x="11205178" y="669549"/>
                  <a:pt x="11182805" y="647382"/>
                </a:cubicBezTo>
                <a:cubicBezTo>
                  <a:pt x="11179695" y="644243"/>
                  <a:pt x="11176796" y="640901"/>
                  <a:pt x="11174127" y="637379"/>
                </a:cubicBezTo>
                <a:close/>
                <a:moveTo>
                  <a:pt x="11566960" y="473719"/>
                </a:moveTo>
                <a:cubicBezTo>
                  <a:pt x="11545970" y="473982"/>
                  <a:pt x="11525063" y="480892"/>
                  <a:pt x="11507574" y="494408"/>
                </a:cubicBezTo>
                <a:cubicBezTo>
                  <a:pt x="11510496" y="512301"/>
                  <a:pt x="11508352" y="530269"/>
                  <a:pt x="11501865" y="546501"/>
                </a:cubicBezTo>
                <a:lnTo>
                  <a:pt x="11470104" y="588173"/>
                </a:lnTo>
                <a:lnTo>
                  <a:pt x="11470098" y="588155"/>
                </a:lnTo>
                <a:lnTo>
                  <a:pt x="11470098" y="588180"/>
                </a:lnTo>
                <a:lnTo>
                  <a:pt x="11470104" y="588173"/>
                </a:lnTo>
                <a:lnTo>
                  <a:pt x="11480050" y="618787"/>
                </a:lnTo>
                <a:cubicBezTo>
                  <a:pt x="11494687" y="647014"/>
                  <a:pt x="11522477" y="667153"/>
                  <a:pt x="11555333" y="671312"/>
                </a:cubicBezTo>
                <a:cubicBezTo>
                  <a:pt x="11571208" y="649225"/>
                  <a:pt x="11595271" y="635084"/>
                  <a:pt x="11621467" y="631489"/>
                </a:cubicBezTo>
                <a:lnTo>
                  <a:pt x="11648148" y="631505"/>
                </a:lnTo>
                <a:lnTo>
                  <a:pt x="11607295" y="664326"/>
                </a:lnTo>
                <a:cubicBezTo>
                  <a:pt x="11591231" y="671218"/>
                  <a:pt x="11573319" y="673804"/>
                  <a:pt x="11555358" y="671312"/>
                </a:cubicBezTo>
                <a:cubicBezTo>
                  <a:pt x="11529168" y="706863"/>
                  <a:pt x="11529767" y="755481"/>
                  <a:pt x="11556823" y="790377"/>
                </a:cubicBezTo>
                <a:cubicBezTo>
                  <a:pt x="11587937" y="785491"/>
                  <a:pt x="11619519" y="795696"/>
                  <a:pt x="11641892" y="817863"/>
                </a:cubicBezTo>
                <a:cubicBezTo>
                  <a:pt x="11645014" y="820991"/>
                  <a:pt x="11647917" y="824328"/>
                  <a:pt x="11650583" y="827853"/>
                </a:cubicBezTo>
                <a:cubicBezTo>
                  <a:pt x="11699102" y="820357"/>
                  <a:pt x="11734842" y="778500"/>
                  <a:pt x="11734645" y="729405"/>
                </a:cubicBezTo>
                <a:cubicBezTo>
                  <a:pt x="11734455" y="692140"/>
                  <a:pt x="11713615" y="659288"/>
                  <a:pt x="11682417" y="642503"/>
                </a:cubicBezTo>
                <a:lnTo>
                  <a:pt x="11648149" y="631504"/>
                </a:lnTo>
                <a:lnTo>
                  <a:pt x="11664694" y="595778"/>
                </a:lnTo>
                <a:cubicBezTo>
                  <a:pt x="11673605" y="558181"/>
                  <a:pt x="11659961" y="517205"/>
                  <a:pt x="11626846" y="492914"/>
                </a:cubicBezTo>
                <a:cubicBezTo>
                  <a:pt x="11609023" y="479841"/>
                  <a:pt x="11587950" y="473456"/>
                  <a:pt x="11566960" y="473719"/>
                </a:cubicBezTo>
                <a:close/>
                <a:moveTo>
                  <a:pt x="11394448" y="411528"/>
                </a:moveTo>
                <a:cubicBezTo>
                  <a:pt x="11361716" y="416579"/>
                  <a:pt x="11334447" y="437407"/>
                  <a:pt x="11320474" y="465981"/>
                </a:cubicBezTo>
                <a:lnTo>
                  <a:pt x="11311225" y="496838"/>
                </a:lnTo>
                <a:lnTo>
                  <a:pt x="11311225" y="496816"/>
                </a:lnTo>
                <a:cubicBezTo>
                  <a:pt x="11267027" y="464476"/>
                  <a:pt x="11204981" y="474089"/>
                  <a:pt x="11172642" y="518286"/>
                </a:cubicBezTo>
                <a:cubicBezTo>
                  <a:pt x="11146587" y="553894"/>
                  <a:pt x="11147193" y="602432"/>
                  <a:pt x="11174128" y="637379"/>
                </a:cubicBezTo>
                <a:cubicBezTo>
                  <a:pt x="11192021" y="634457"/>
                  <a:pt x="11209989" y="636600"/>
                  <a:pt x="11226221" y="643087"/>
                </a:cubicBezTo>
                <a:lnTo>
                  <a:pt x="11267893" y="674848"/>
                </a:lnTo>
                <a:lnTo>
                  <a:pt x="11267875" y="674854"/>
                </a:lnTo>
                <a:lnTo>
                  <a:pt x="11267900" y="674854"/>
                </a:lnTo>
                <a:lnTo>
                  <a:pt x="11267893" y="674848"/>
                </a:lnTo>
                <a:lnTo>
                  <a:pt x="11298506" y="664903"/>
                </a:lnTo>
                <a:cubicBezTo>
                  <a:pt x="11326732" y="650267"/>
                  <a:pt x="11346867" y="622475"/>
                  <a:pt x="11351019" y="589620"/>
                </a:cubicBezTo>
                <a:cubicBezTo>
                  <a:pt x="11328943" y="573741"/>
                  <a:pt x="11314810" y="549683"/>
                  <a:pt x="11311213" y="523493"/>
                </a:cubicBezTo>
                <a:lnTo>
                  <a:pt x="11311225" y="496842"/>
                </a:lnTo>
                <a:lnTo>
                  <a:pt x="11322552" y="506360"/>
                </a:lnTo>
                <a:cubicBezTo>
                  <a:pt x="11344528" y="528141"/>
                  <a:pt x="11355059" y="558943"/>
                  <a:pt x="11351019" y="589619"/>
                </a:cubicBezTo>
                <a:cubicBezTo>
                  <a:pt x="11386574" y="615810"/>
                  <a:pt x="11435197" y="615213"/>
                  <a:pt x="11470097" y="588154"/>
                </a:cubicBezTo>
                <a:cubicBezTo>
                  <a:pt x="11465206" y="557039"/>
                  <a:pt x="11475410" y="525455"/>
                  <a:pt x="11497583" y="503085"/>
                </a:cubicBezTo>
                <a:cubicBezTo>
                  <a:pt x="11500718" y="499975"/>
                  <a:pt x="11504055" y="497077"/>
                  <a:pt x="11507573" y="494407"/>
                </a:cubicBezTo>
                <a:cubicBezTo>
                  <a:pt x="11499222" y="440282"/>
                  <a:pt x="11448574" y="403176"/>
                  <a:pt x="11394448" y="411528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360000" tIns="360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sv-SE"/>
              <a:t> 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D20F998C-8F3E-4090-94F3-7E5DB26E00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654598"/>
            <a:ext cx="9829800" cy="663188"/>
          </a:xfrm>
        </p:spPr>
        <p:txBody>
          <a:bodyPr anchor="t" anchorCtr="0"/>
          <a:lstStyle>
            <a:lvl1pPr>
              <a:defRPr sz="5400" b="1"/>
            </a:lvl1pPr>
          </a:lstStyle>
          <a:p>
            <a:r>
              <a:rPr lang="sv-SE"/>
              <a:t>Avsnittstitel</a:t>
            </a:r>
          </a:p>
        </p:txBody>
      </p:sp>
      <p:grpSp>
        <p:nvGrpSpPr>
          <p:cNvPr id="23" name="Bildobjekt 4">
            <a:extLst>
              <a:ext uri="{FF2B5EF4-FFF2-40B4-BE49-F238E27FC236}">
                <a16:creationId xmlns:a16="http://schemas.microsoft.com/office/drawing/2014/main" id="{55A2A061-289E-4462-9E8A-51C09602E3AE}"/>
              </a:ext>
            </a:extLst>
          </p:cNvPr>
          <p:cNvGrpSpPr/>
          <p:nvPr userDrawn="1"/>
        </p:nvGrpSpPr>
        <p:grpSpPr>
          <a:xfrm>
            <a:off x="11090075" y="410354"/>
            <a:ext cx="644570" cy="644554"/>
            <a:chOff x="11090075" y="410354"/>
            <a:chExt cx="644570" cy="644554"/>
          </a:xfrm>
          <a:solidFill>
            <a:schemeClr val="accent3"/>
          </a:solidFill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35900916-BC6A-4337-80BF-A649FAB5AAFC}"/>
                </a:ext>
              </a:extLst>
            </p:cNvPr>
            <p:cNvSpPr/>
            <p:nvPr/>
          </p:nvSpPr>
          <p:spPr>
            <a:xfrm>
              <a:off x="11311225" y="410354"/>
              <a:ext cx="196349" cy="198508"/>
            </a:xfrm>
            <a:custGeom>
              <a:avLst/>
              <a:gdLst>
                <a:gd name="connsiteX0" fmla="*/ 39795 w 196349"/>
                <a:gd name="connsiteY0" fmla="*/ 179265 h 198508"/>
                <a:gd name="connsiteX1" fmla="*/ 158873 w 196349"/>
                <a:gd name="connsiteY1" fmla="*/ 177800 h 198508"/>
                <a:gd name="connsiteX2" fmla="*/ 186359 w 196349"/>
                <a:gd name="connsiteY2" fmla="*/ 92731 h 198508"/>
                <a:gd name="connsiteX3" fmla="*/ 196349 w 196349"/>
                <a:gd name="connsiteY3" fmla="*/ 84053 h 198508"/>
                <a:gd name="connsiteX4" fmla="*/ 83224 w 196349"/>
                <a:gd name="connsiteY4" fmla="*/ 1174 h 198508"/>
                <a:gd name="connsiteX5" fmla="*/ 0 w 196349"/>
                <a:gd name="connsiteY5" fmla="*/ 86487 h 198508"/>
                <a:gd name="connsiteX6" fmla="*/ 11328 w 196349"/>
                <a:gd name="connsiteY6" fmla="*/ 96006 h 198508"/>
                <a:gd name="connsiteX7" fmla="*/ 39795 w 196349"/>
                <a:gd name="connsiteY7" fmla="*/ 179265 h 198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6349" h="198508">
                  <a:moveTo>
                    <a:pt x="39795" y="179265"/>
                  </a:moveTo>
                  <a:cubicBezTo>
                    <a:pt x="75350" y="205456"/>
                    <a:pt x="123973" y="204859"/>
                    <a:pt x="158873" y="177800"/>
                  </a:cubicBezTo>
                  <a:cubicBezTo>
                    <a:pt x="153982" y="146685"/>
                    <a:pt x="164186" y="115101"/>
                    <a:pt x="186359" y="92731"/>
                  </a:cubicBezTo>
                  <a:cubicBezTo>
                    <a:pt x="189494" y="89621"/>
                    <a:pt x="192831" y="86723"/>
                    <a:pt x="196349" y="84053"/>
                  </a:cubicBezTo>
                  <a:cubicBezTo>
                    <a:pt x="187998" y="29928"/>
                    <a:pt x="137350" y="-7178"/>
                    <a:pt x="83224" y="1174"/>
                  </a:cubicBezTo>
                  <a:cubicBezTo>
                    <a:pt x="39581" y="7908"/>
                    <a:pt x="5651" y="42691"/>
                    <a:pt x="0" y="86487"/>
                  </a:cubicBezTo>
                  <a:cubicBezTo>
                    <a:pt x="4005" y="89378"/>
                    <a:pt x="7791" y="92559"/>
                    <a:pt x="11328" y="96006"/>
                  </a:cubicBezTo>
                  <a:cubicBezTo>
                    <a:pt x="33304" y="117787"/>
                    <a:pt x="43835" y="148589"/>
                    <a:pt x="39795" y="179265"/>
                  </a:cubicBezTo>
                  <a:close/>
                </a:path>
              </a:pathLst>
            </a:custGeom>
            <a:grpFill/>
            <a:ln w="6350" cap="flat">
              <a:solidFill>
                <a:schemeClr val="accent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7263309B-29F4-4C0D-B622-C4A72BD6AE9E}"/>
                </a:ext>
              </a:extLst>
            </p:cNvPr>
            <p:cNvSpPr/>
            <p:nvPr/>
          </p:nvSpPr>
          <p:spPr>
            <a:xfrm>
              <a:off x="11470099" y="473711"/>
              <a:ext cx="197260" cy="197601"/>
            </a:xfrm>
            <a:custGeom>
              <a:avLst/>
              <a:gdLst>
                <a:gd name="connsiteX0" fmla="*/ 0 w 197260"/>
                <a:gd name="connsiteY0" fmla="*/ 114444 h 197601"/>
                <a:gd name="connsiteX1" fmla="*/ 85235 w 197260"/>
                <a:gd name="connsiteY1" fmla="*/ 197601 h 197601"/>
                <a:gd name="connsiteX2" fmla="*/ 178051 w 197260"/>
                <a:gd name="connsiteY2" fmla="*/ 157794 h 197601"/>
                <a:gd name="connsiteX3" fmla="*/ 156748 w 197260"/>
                <a:gd name="connsiteY3" fmla="*/ 19203 h 197601"/>
                <a:gd name="connsiteX4" fmla="*/ 37476 w 197260"/>
                <a:gd name="connsiteY4" fmla="*/ 20697 h 197601"/>
                <a:gd name="connsiteX5" fmla="*/ 0 w 197260"/>
                <a:gd name="connsiteY5" fmla="*/ 114469 h 197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7260" h="197601">
                  <a:moveTo>
                    <a:pt x="0" y="114444"/>
                  </a:moveTo>
                  <a:cubicBezTo>
                    <a:pt x="6625" y="158102"/>
                    <a:pt x="41427" y="192056"/>
                    <a:pt x="85235" y="197601"/>
                  </a:cubicBezTo>
                  <a:cubicBezTo>
                    <a:pt x="106401" y="168151"/>
                    <a:pt x="142125" y="152829"/>
                    <a:pt x="178051" y="157794"/>
                  </a:cubicBezTo>
                  <a:cubicBezTo>
                    <a:pt x="210440" y="113641"/>
                    <a:pt x="200902" y="51591"/>
                    <a:pt x="156748" y="19203"/>
                  </a:cubicBezTo>
                  <a:cubicBezTo>
                    <a:pt x="121103" y="-6944"/>
                    <a:pt x="72454" y="-6335"/>
                    <a:pt x="37476" y="20697"/>
                  </a:cubicBezTo>
                  <a:cubicBezTo>
                    <a:pt x="43321" y="56483"/>
                    <a:pt x="28900" y="92569"/>
                    <a:pt x="0" y="114469"/>
                  </a:cubicBezTo>
                  <a:close/>
                </a:path>
              </a:pathLst>
            </a:custGeom>
            <a:grpFill/>
            <a:ln w="6350" cap="flat">
              <a:solidFill>
                <a:schemeClr val="accent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BA6239F7-7276-4627-94EF-4BB65C1FD41B}"/>
                </a:ext>
              </a:extLst>
            </p:cNvPr>
            <p:cNvSpPr/>
            <p:nvPr/>
          </p:nvSpPr>
          <p:spPr>
            <a:xfrm>
              <a:off x="11536117" y="631504"/>
              <a:ext cx="198529" cy="196349"/>
            </a:xfrm>
            <a:custGeom>
              <a:avLst/>
              <a:gdLst>
                <a:gd name="connsiteX0" fmla="*/ 198529 w 198529"/>
                <a:gd name="connsiteY0" fmla="*/ 97901 h 196349"/>
                <a:gd name="connsiteX1" fmla="*/ 112033 w 198529"/>
                <a:gd name="connsiteY1" fmla="*/ 0 h 196349"/>
                <a:gd name="connsiteX2" fmla="*/ 19242 w 198529"/>
                <a:gd name="connsiteY2" fmla="*/ 39808 h 196349"/>
                <a:gd name="connsiteX3" fmla="*/ 20707 w 198529"/>
                <a:gd name="connsiteY3" fmla="*/ 158873 h 196349"/>
                <a:gd name="connsiteX4" fmla="*/ 105776 w 198529"/>
                <a:gd name="connsiteY4" fmla="*/ 186359 h 196349"/>
                <a:gd name="connsiteX5" fmla="*/ 114467 w 198529"/>
                <a:gd name="connsiteY5" fmla="*/ 196349 h 196349"/>
                <a:gd name="connsiteX6" fmla="*/ 198529 w 198529"/>
                <a:gd name="connsiteY6" fmla="*/ 97901 h 196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8529" h="196349">
                  <a:moveTo>
                    <a:pt x="198529" y="97901"/>
                  </a:moveTo>
                  <a:cubicBezTo>
                    <a:pt x="198275" y="48214"/>
                    <a:pt x="161311" y="6374"/>
                    <a:pt x="112033" y="0"/>
                  </a:cubicBezTo>
                  <a:cubicBezTo>
                    <a:pt x="90890" y="29464"/>
                    <a:pt x="55163" y="44791"/>
                    <a:pt x="19242" y="39808"/>
                  </a:cubicBezTo>
                  <a:cubicBezTo>
                    <a:pt x="-6948" y="75359"/>
                    <a:pt x="-6349" y="123977"/>
                    <a:pt x="20707" y="158873"/>
                  </a:cubicBezTo>
                  <a:cubicBezTo>
                    <a:pt x="51821" y="153987"/>
                    <a:pt x="83403" y="164192"/>
                    <a:pt x="105776" y="186359"/>
                  </a:cubicBezTo>
                  <a:cubicBezTo>
                    <a:pt x="108898" y="189487"/>
                    <a:pt x="111801" y="192824"/>
                    <a:pt x="114467" y="196349"/>
                  </a:cubicBezTo>
                  <a:cubicBezTo>
                    <a:pt x="162986" y="188853"/>
                    <a:pt x="198726" y="146996"/>
                    <a:pt x="198529" y="97901"/>
                  </a:cubicBezTo>
                  <a:close/>
                </a:path>
              </a:pathLst>
            </a:custGeom>
            <a:grpFill/>
            <a:ln w="6350" cap="flat">
              <a:solidFill>
                <a:schemeClr val="accent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EE87B7B-38C0-4FFF-AF3C-D643B4D1261C}"/>
                </a:ext>
              </a:extLst>
            </p:cNvPr>
            <p:cNvSpPr/>
            <p:nvPr/>
          </p:nvSpPr>
          <p:spPr>
            <a:xfrm>
              <a:off x="11473654" y="790378"/>
              <a:ext cx="197595" cy="197265"/>
            </a:xfrm>
            <a:custGeom>
              <a:avLst/>
              <a:gdLst>
                <a:gd name="connsiteX0" fmla="*/ 83145 w 197595"/>
                <a:gd name="connsiteY0" fmla="*/ 0 h 197265"/>
                <a:gd name="connsiteX1" fmla="*/ 0 w 197595"/>
                <a:gd name="connsiteY1" fmla="*/ 85235 h 197265"/>
                <a:gd name="connsiteX2" fmla="*/ 39795 w 197595"/>
                <a:gd name="connsiteY2" fmla="*/ 178051 h 197265"/>
                <a:gd name="connsiteX3" fmla="*/ 178387 w 197595"/>
                <a:gd name="connsiteY3" fmla="*/ 156761 h 197265"/>
                <a:gd name="connsiteX4" fmla="*/ 176904 w 197595"/>
                <a:gd name="connsiteY4" fmla="*/ 37488 h 197265"/>
                <a:gd name="connsiteX5" fmla="*/ 162174 w 197595"/>
                <a:gd name="connsiteY5" fmla="*/ 38763 h 197265"/>
                <a:gd name="connsiteX6" fmla="*/ 83145 w 197595"/>
                <a:gd name="connsiteY6" fmla="*/ 0 h 197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7595" h="197265">
                  <a:moveTo>
                    <a:pt x="83145" y="0"/>
                  </a:moveTo>
                  <a:cubicBezTo>
                    <a:pt x="39488" y="6621"/>
                    <a:pt x="5537" y="41427"/>
                    <a:pt x="0" y="85235"/>
                  </a:cubicBezTo>
                  <a:cubicBezTo>
                    <a:pt x="29439" y="106409"/>
                    <a:pt x="44754" y="142128"/>
                    <a:pt x="39795" y="178051"/>
                  </a:cubicBezTo>
                  <a:cubicBezTo>
                    <a:pt x="83945" y="210442"/>
                    <a:pt x="145996" y="200911"/>
                    <a:pt x="178387" y="156761"/>
                  </a:cubicBezTo>
                  <a:cubicBezTo>
                    <a:pt x="204537" y="121117"/>
                    <a:pt x="203932" y="72469"/>
                    <a:pt x="176904" y="37488"/>
                  </a:cubicBezTo>
                  <a:cubicBezTo>
                    <a:pt x="172033" y="38276"/>
                    <a:pt x="167109" y="38702"/>
                    <a:pt x="162174" y="38763"/>
                  </a:cubicBezTo>
                  <a:cubicBezTo>
                    <a:pt x="131222" y="38896"/>
                    <a:pt x="101986" y="24556"/>
                    <a:pt x="83145" y="0"/>
                  </a:cubicBezTo>
                  <a:close/>
                </a:path>
              </a:pathLst>
            </a:custGeom>
            <a:grpFill/>
            <a:ln w="6350" cap="flat">
              <a:solidFill>
                <a:schemeClr val="accent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5390F785-ACFA-458A-9584-BE02F67FEFD3}"/>
                </a:ext>
              </a:extLst>
            </p:cNvPr>
            <p:cNvSpPr/>
            <p:nvPr/>
          </p:nvSpPr>
          <p:spPr>
            <a:xfrm>
              <a:off x="11317100" y="856369"/>
              <a:ext cx="196349" cy="198539"/>
            </a:xfrm>
            <a:custGeom>
              <a:avLst/>
              <a:gdLst>
                <a:gd name="connsiteX0" fmla="*/ 156554 w 196349"/>
                <a:gd name="connsiteY0" fmla="*/ 19243 h 198539"/>
                <a:gd name="connsiteX1" fmla="*/ 37476 w 196349"/>
                <a:gd name="connsiteY1" fmla="*/ 20709 h 198539"/>
                <a:gd name="connsiteX2" fmla="*/ 0 w 196349"/>
                <a:gd name="connsiteY2" fmla="*/ 114481 h 198539"/>
                <a:gd name="connsiteX3" fmla="*/ 113120 w 196349"/>
                <a:gd name="connsiteY3" fmla="*/ 197367 h 198539"/>
                <a:gd name="connsiteX4" fmla="*/ 196349 w 196349"/>
                <a:gd name="connsiteY4" fmla="*/ 112060 h 198539"/>
                <a:gd name="connsiteX5" fmla="*/ 185021 w 196349"/>
                <a:gd name="connsiteY5" fmla="*/ 102541 h 198539"/>
                <a:gd name="connsiteX6" fmla="*/ 156554 w 196349"/>
                <a:gd name="connsiteY6" fmla="*/ 19243 h 198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6349" h="198539">
                  <a:moveTo>
                    <a:pt x="156554" y="19243"/>
                  </a:moveTo>
                  <a:cubicBezTo>
                    <a:pt x="120999" y="-6948"/>
                    <a:pt x="72376" y="-6350"/>
                    <a:pt x="37476" y="20709"/>
                  </a:cubicBezTo>
                  <a:cubicBezTo>
                    <a:pt x="43332" y="56496"/>
                    <a:pt x="28909" y="92588"/>
                    <a:pt x="0" y="114481"/>
                  </a:cubicBezTo>
                  <a:cubicBezTo>
                    <a:pt x="8349" y="168606"/>
                    <a:pt x="58994" y="205716"/>
                    <a:pt x="113120" y="197367"/>
                  </a:cubicBezTo>
                  <a:cubicBezTo>
                    <a:pt x="156763" y="190635"/>
                    <a:pt x="190695" y="155856"/>
                    <a:pt x="196349" y="112060"/>
                  </a:cubicBezTo>
                  <a:cubicBezTo>
                    <a:pt x="192344" y="109168"/>
                    <a:pt x="188558" y="105988"/>
                    <a:pt x="185021" y="102541"/>
                  </a:cubicBezTo>
                  <a:cubicBezTo>
                    <a:pt x="163034" y="80751"/>
                    <a:pt x="152502" y="49932"/>
                    <a:pt x="156554" y="19243"/>
                  </a:cubicBezTo>
                  <a:close/>
                </a:path>
              </a:pathLst>
            </a:custGeom>
            <a:grpFill/>
            <a:ln w="6350" cap="flat">
              <a:solidFill>
                <a:schemeClr val="accent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A3C56F8-FBD8-4D0C-B64B-8F43968B0A42}"/>
                </a:ext>
              </a:extLst>
            </p:cNvPr>
            <p:cNvSpPr/>
            <p:nvPr/>
          </p:nvSpPr>
          <p:spPr>
            <a:xfrm>
              <a:off x="11157352" y="793933"/>
              <a:ext cx="197223" cy="197572"/>
            </a:xfrm>
            <a:custGeom>
              <a:avLst/>
              <a:gdLst>
                <a:gd name="connsiteX0" fmla="*/ 197223 w 197223"/>
                <a:gd name="connsiteY0" fmla="*/ 83145 h 197572"/>
                <a:gd name="connsiteX1" fmla="*/ 111989 w 197223"/>
                <a:gd name="connsiteY1" fmla="*/ 0 h 197572"/>
                <a:gd name="connsiteX2" fmla="*/ 19185 w 197223"/>
                <a:gd name="connsiteY2" fmla="*/ 39795 h 197572"/>
                <a:gd name="connsiteX3" fmla="*/ 40554 w 197223"/>
                <a:gd name="connsiteY3" fmla="*/ 178394 h 197572"/>
                <a:gd name="connsiteX4" fmla="*/ 159747 w 197223"/>
                <a:gd name="connsiteY4" fmla="*/ 176917 h 197572"/>
                <a:gd name="connsiteX5" fmla="*/ 197223 w 197223"/>
                <a:gd name="connsiteY5" fmla="*/ 83145 h 19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7223" h="197572">
                  <a:moveTo>
                    <a:pt x="197223" y="83145"/>
                  </a:moveTo>
                  <a:cubicBezTo>
                    <a:pt x="190602" y="39488"/>
                    <a:pt x="155796" y="5537"/>
                    <a:pt x="111989" y="0"/>
                  </a:cubicBezTo>
                  <a:cubicBezTo>
                    <a:pt x="90817" y="29435"/>
                    <a:pt x="55103" y="44749"/>
                    <a:pt x="19185" y="39795"/>
                  </a:cubicBezTo>
                  <a:cubicBezTo>
                    <a:pt x="-13187" y="83969"/>
                    <a:pt x="-3620" y="146021"/>
                    <a:pt x="40554" y="178394"/>
                  </a:cubicBezTo>
                  <a:cubicBezTo>
                    <a:pt x="76180" y="204502"/>
                    <a:pt x="124780" y="203900"/>
                    <a:pt x="159747" y="176917"/>
                  </a:cubicBezTo>
                  <a:cubicBezTo>
                    <a:pt x="153903" y="141131"/>
                    <a:pt x="168323" y="105045"/>
                    <a:pt x="197223" y="83145"/>
                  </a:cubicBezTo>
                  <a:close/>
                </a:path>
              </a:pathLst>
            </a:custGeom>
            <a:grpFill/>
            <a:ln w="6350" cap="flat">
              <a:solidFill>
                <a:schemeClr val="accent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989EEC9F-1602-4C79-9590-9CC5295828D5}"/>
                </a:ext>
              </a:extLst>
            </p:cNvPr>
            <p:cNvSpPr/>
            <p:nvPr/>
          </p:nvSpPr>
          <p:spPr>
            <a:xfrm>
              <a:off x="11090075" y="637379"/>
              <a:ext cx="198508" cy="196349"/>
            </a:xfrm>
            <a:custGeom>
              <a:avLst/>
              <a:gdLst>
                <a:gd name="connsiteX0" fmla="*/ 179265 w 198508"/>
                <a:gd name="connsiteY0" fmla="*/ 156554 h 196349"/>
                <a:gd name="connsiteX1" fmla="*/ 177800 w 198508"/>
                <a:gd name="connsiteY1" fmla="*/ 37476 h 196349"/>
                <a:gd name="connsiteX2" fmla="*/ 92731 w 198508"/>
                <a:gd name="connsiteY2" fmla="*/ 10003 h 196349"/>
                <a:gd name="connsiteX3" fmla="*/ 84053 w 198508"/>
                <a:gd name="connsiteY3" fmla="*/ 0 h 196349"/>
                <a:gd name="connsiteX4" fmla="*/ 1174 w 198508"/>
                <a:gd name="connsiteY4" fmla="*/ 113125 h 196349"/>
                <a:gd name="connsiteX5" fmla="*/ 86487 w 198508"/>
                <a:gd name="connsiteY5" fmla="*/ 196349 h 196349"/>
                <a:gd name="connsiteX6" fmla="*/ 96006 w 198508"/>
                <a:gd name="connsiteY6" fmla="*/ 185021 h 196349"/>
                <a:gd name="connsiteX7" fmla="*/ 179265 w 198508"/>
                <a:gd name="connsiteY7" fmla="*/ 156554 h 196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8508" h="196349">
                  <a:moveTo>
                    <a:pt x="179265" y="156554"/>
                  </a:moveTo>
                  <a:cubicBezTo>
                    <a:pt x="205456" y="120999"/>
                    <a:pt x="204859" y="72376"/>
                    <a:pt x="177800" y="37476"/>
                  </a:cubicBezTo>
                  <a:cubicBezTo>
                    <a:pt x="146688" y="42369"/>
                    <a:pt x="115104" y="32170"/>
                    <a:pt x="92731" y="10003"/>
                  </a:cubicBezTo>
                  <a:cubicBezTo>
                    <a:pt x="89621" y="6864"/>
                    <a:pt x="86722" y="3522"/>
                    <a:pt x="84053" y="0"/>
                  </a:cubicBezTo>
                  <a:cubicBezTo>
                    <a:pt x="29928" y="8351"/>
                    <a:pt x="-7178" y="58999"/>
                    <a:pt x="1174" y="113125"/>
                  </a:cubicBezTo>
                  <a:cubicBezTo>
                    <a:pt x="7908" y="156768"/>
                    <a:pt x="42691" y="190698"/>
                    <a:pt x="86487" y="196349"/>
                  </a:cubicBezTo>
                  <a:cubicBezTo>
                    <a:pt x="89378" y="192344"/>
                    <a:pt x="92559" y="188558"/>
                    <a:pt x="96006" y="185021"/>
                  </a:cubicBezTo>
                  <a:cubicBezTo>
                    <a:pt x="117787" y="163045"/>
                    <a:pt x="148589" y="152514"/>
                    <a:pt x="179265" y="156554"/>
                  </a:cubicBezTo>
                  <a:close/>
                </a:path>
              </a:pathLst>
            </a:custGeom>
            <a:grpFill/>
            <a:ln w="6350" cap="flat">
              <a:solidFill>
                <a:schemeClr val="accent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0F418E69-29B3-435A-BBE6-36E2D53FA967}"/>
                </a:ext>
              </a:extLst>
            </p:cNvPr>
            <p:cNvSpPr/>
            <p:nvPr/>
          </p:nvSpPr>
          <p:spPr>
            <a:xfrm>
              <a:off x="11153507" y="477674"/>
              <a:ext cx="197513" cy="197180"/>
            </a:xfrm>
            <a:custGeom>
              <a:avLst/>
              <a:gdLst>
                <a:gd name="connsiteX0" fmla="*/ 114369 w 197513"/>
                <a:gd name="connsiteY0" fmla="*/ 197180 h 197180"/>
                <a:gd name="connsiteX1" fmla="*/ 197513 w 197513"/>
                <a:gd name="connsiteY1" fmla="*/ 111946 h 197180"/>
                <a:gd name="connsiteX2" fmla="*/ 157719 w 197513"/>
                <a:gd name="connsiteY2" fmla="*/ 19142 h 197180"/>
                <a:gd name="connsiteX3" fmla="*/ 19136 w 197513"/>
                <a:gd name="connsiteY3" fmla="*/ 40612 h 197180"/>
                <a:gd name="connsiteX4" fmla="*/ 20622 w 197513"/>
                <a:gd name="connsiteY4" fmla="*/ 159705 h 197180"/>
                <a:gd name="connsiteX5" fmla="*/ 114394 w 197513"/>
                <a:gd name="connsiteY5" fmla="*/ 197180 h 197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7513" h="197180">
                  <a:moveTo>
                    <a:pt x="114369" y="197180"/>
                  </a:moveTo>
                  <a:cubicBezTo>
                    <a:pt x="158026" y="190559"/>
                    <a:pt x="191977" y="155753"/>
                    <a:pt x="197513" y="111946"/>
                  </a:cubicBezTo>
                  <a:cubicBezTo>
                    <a:pt x="168078" y="90774"/>
                    <a:pt x="152764" y="55061"/>
                    <a:pt x="157719" y="19142"/>
                  </a:cubicBezTo>
                  <a:cubicBezTo>
                    <a:pt x="113521" y="-13198"/>
                    <a:pt x="51475" y="-3585"/>
                    <a:pt x="19136" y="40612"/>
                  </a:cubicBezTo>
                  <a:cubicBezTo>
                    <a:pt x="-6919" y="76220"/>
                    <a:pt x="-6313" y="124758"/>
                    <a:pt x="20622" y="159705"/>
                  </a:cubicBezTo>
                  <a:cubicBezTo>
                    <a:pt x="56408" y="153860"/>
                    <a:pt x="92494" y="168280"/>
                    <a:pt x="114394" y="197180"/>
                  </a:cubicBezTo>
                  <a:close/>
                </a:path>
              </a:pathLst>
            </a:custGeom>
            <a:grpFill/>
            <a:ln w="6350" cap="flat">
              <a:solidFill>
                <a:schemeClr val="accent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</p:grpSp>
    </p:spTree>
    <p:extLst>
      <p:ext uri="{BB962C8B-B14F-4D97-AF65-F5344CB8AC3E}">
        <p14:creationId xmlns:p14="http://schemas.microsoft.com/office/powerpoint/2010/main" val="7585027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och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bild 9">
            <a:extLst>
              <a:ext uri="{FF2B5EF4-FFF2-40B4-BE49-F238E27FC236}">
                <a16:creationId xmlns:a16="http://schemas.microsoft.com/office/drawing/2014/main" id="{6437C3FB-B590-43F3-8686-17D11169DEC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45601" y="0"/>
            <a:ext cx="11846400" cy="6858000"/>
          </a:xfrm>
        </p:spPr>
        <p:txBody>
          <a:bodyPr tIns="0" bIns="1800000" anchor="ctr" anchorCtr="0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sv-SE" dirty="0"/>
              <a:t>Klicka på ikonen för att </a:t>
            </a:r>
            <a:br>
              <a:rPr lang="sv-SE" dirty="0"/>
            </a:br>
            <a:r>
              <a:rPr lang="sv-SE" dirty="0"/>
              <a:t>lägga till en bild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0C0FFDE-20E1-4E05-AD5B-876993A14B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61A35B-5759-402D-A031-2298209AB0E2}" type="datetimeFigureOut">
              <a:rPr lang="sv-SE" smtClean="0"/>
              <a:t>2025-12-03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9C658C64-0CC7-478A-AC17-30210252F9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FBD27019-FF78-4832-9008-F432E9C3B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C95FCE1-8E5F-4560-B29E-7FB78EB7A839}" type="slidenum">
              <a:rPr lang="sv-SE" smtClean="0"/>
              <a:t>‹#›</a:t>
            </a:fld>
            <a:endParaRPr lang="sv-SE"/>
          </a:p>
        </p:txBody>
      </p:sp>
      <p:sp>
        <p:nvSpPr>
          <p:cNvPr id="8" name="Rubrik 1">
            <a:extLst>
              <a:ext uri="{FF2B5EF4-FFF2-40B4-BE49-F238E27FC236}">
                <a16:creationId xmlns:a16="http://schemas.microsoft.com/office/drawing/2014/main" id="{118C7873-AD9A-4598-BEE2-3ED782562B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8465" y="617055"/>
            <a:ext cx="5495070" cy="1325563"/>
          </a:xfrm>
        </p:spPr>
        <p:txBody>
          <a:bodyPr anchor="b" anchorCtr="0">
            <a:noAutofit/>
          </a:bodyPr>
          <a:lstStyle>
            <a:lvl1pPr>
              <a:defRPr sz="2800"/>
            </a:lvl1pPr>
          </a:lstStyle>
          <a:p>
            <a:r>
              <a:rPr lang="sv-SE" dirty="0"/>
              <a:t>Rubrik i svart/vit/blå placeras fritt på bilden där den passar</a:t>
            </a: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BBAB7C4-34CF-4F5D-8C3D-27B38F9E8CF0}"/>
              </a:ext>
            </a:extLst>
          </p:cNvPr>
          <p:cNvSpPr/>
          <p:nvPr/>
        </p:nvSpPr>
        <p:spPr>
          <a:xfrm>
            <a:off x="1" y="0"/>
            <a:ext cx="34559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493807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örre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17055415-C399-4877-B646-A2D63B23A5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61A35B-5759-402D-A031-2298209AB0E2}" type="datetimeFigureOut">
              <a:rPr lang="sv-SE" smtClean="0"/>
              <a:t>2025-12-03</a:t>
            </a:fld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EF62413D-730B-4EBD-B9C6-E6B147E9DB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A3D275AC-7ABB-49A4-BADA-267D495A83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95FCE1-8E5F-4560-B29E-7FB78EB7A839}" type="slidenum">
              <a:rPr lang="sv-SE" smtClean="0"/>
              <a:t>‹#›</a:t>
            </a:fld>
            <a:endParaRPr lang="sv-SE"/>
          </a:p>
        </p:txBody>
      </p:sp>
      <p:sp>
        <p:nvSpPr>
          <p:cNvPr id="6" name="Platshållare för innehåll 2">
            <a:extLst>
              <a:ext uri="{FF2B5EF4-FFF2-40B4-BE49-F238E27FC236}">
                <a16:creationId xmlns:a16="http://schemas.microsoft.com/office/drawing/2014/main" id="{241C9948-CE84-42C5-B2F5-861912055175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1800000" y="1134737"/>
            <a:ext cx="8640000" cy="4589261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sv-SE" dirty="0"/>
              <a:t>Innehåll med grafik som t ex tabell eller diagram</a:t>
            </a: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7BC50C73-2857-465E-A01E-727A200B1112}"/>
              </a:ext>
            </a:extLst>
          </p:cNvPr>
          <p:cNvSpPr/>
          <p:nvPr/>
        </p:nvSpPr>
        <p:spPr>
          <a:xfrm>
            <a:off x="1" y="0"/>
            <a:ext cx="34559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374555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5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9.xml"/><Relationship Id="rId9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8.xml"/><Relationship Id="rId39" Type="http://schemas.openxmlformats.org/officeDocument/2006/relationships/slideLayout" Target="../slideLayouts/slideLayout71.xml"/><Relationship Id="rId21" Type="http://schemas.openxmlformats.org/officeDocument/2006/relationships/slideLayout" Target="../slideLayouts/slideLayout53.xml"/><Relationship Id="rId34" Type="http://schemas.openxmlformats.org/officeDocument/2006/relationships/slideLayout" Target="../slideLayouts/slideLayout66.xml"/><Relationship Id="rId42" Type="http://schemas.openxmlformats.org/officeDocument/2006/relationships/image" Target="../media/image8.wmf"/><Relationship Id="rId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29" Type="http://schemas.openxmlformats.org/officeDocument/2006/relationships/slideLayout" Target="../slideLayouts/slideLayout61.xml"/><Relationship Id="rId41" Type="http://schemas.openxmlformats.org/officeDocument/2006/relationships/theme" Target="../theme/theme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32" Type="http://schemas.openxmlformats.org/officeDocument/2006/relationships/slideLayout" Target="../slideLayouts/slideLayout64.xml"/><Relationship Id="rId37" Type="http://schemas.openxmlformats.org/officeDocument/2006/relationships/slideLayout" Target="../slideLayouts/slideLayout69.xml"/><Relationship Id="rId40" Type="http://schemas.openxmlformats.org/officeDocument/2006/relationships/slideLayout" Target="../slideLayouts/slideLayout72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slideLayout" Target="../slideLayouts/slideLayout60.xml"/><Relationship Id="rId36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31" Type="http://schemas.openxmlformats.org/officeDocument/2006/relationships/slideLayout" Target="../slideLayouts/slideLayout63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slideLayout" Target="../slideLayouts/slideLayout59.xml"/><Relationship Id="rId30" Type="http://schemas.openxmlformats.org/officeDocument/2006/relationships/slideLayout" Target="../slideLayouts/slideLayout62.xml"/><Relationship Id="rId35" Type="http://schemas.openxmlformats.org/officeDocument/2006/relationships/slideLayout" Target="../slideLayouts/slideLayout67.xml"/><Relationship Id="rId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33" Type="http://schemas.openxmlformats.org/officeDocument/2006/relationships/slideLayout" Target="../slideLayouts/slideLayout65.xml"/><Relationship Id="rId38" Type="http://schemas.openxmlformats.org/officeDocument/2006/relationships/slideLayout" Target="../slideLayouts/slideLayout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id="{18CA09C7-587A-4657-81D5-AC0FD131658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1824" y="6055200"/>
            <a:ext cx="1665480" cy="482611"/>
          </a:xfrm>
          <a:prstGeom prst="rect">
            <a:avLst/>
          </a:prstGeom>
        </p:spPr>
      </p:pic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234B26A-6B2B-4C95-8A12-DEAF372AB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4DDE046B-4018-48D7-8D73-CC8D08898B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909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6471CCF-095F-468D-ADFF-411F91FB937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74838" y="6384966"/>
            <a:ext cx="1021520" cy="15284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6661A35B-5759-402D-A031-2298209AB0E2}" type="datetimeFigureOut">
              <a:rPr lang="sv-SE" smtClean="0"/>
              <a:t>2025-12-03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0D2D835D-2058-46B0-B2A7-6BEB4597C2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358" y="6383923"/>
            <a:ext cx="3751641" cy="15493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2D76D85-745A-4E90-8EF1-A95FE2D467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47999" y="6383923"/>
            <a:ext cx="1296002" cy="15388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CC95FCE1-8E5F-4560-B29E-7FB78EB7A83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131078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93" r:id="rId12"/>
    <p:sldLayoutId id="2147483714" r:id="rId13"/>
    <p:sldLayoutId id="2147483717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lnSpc>
          <a:spcPct val="100000"/>
        </a:lnSpc>
        <a:spcBef>
          <a:spcPts val="800"/>
        </a:spcBef>
        <a:buSzPct val="70000"/>
        <a:buFont typeface="Courier New" charset="0"/>
        <a:buChar char="o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08000" indent="-252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260000" indent="-252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id="{18CA09C7-587A-4657-81D5-AC0FD131658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1824" y="6055200"/>
            <a:ext cx="1665480" cy="482611"/>
          </a:xfrm>
          <a:prstGeom prst="rect">
            <a:avLst/>
          </a:prstGeom>
        </p:spPr>
      </p:pic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234B26A-6B2B-4C95-8A12-DEAF372AB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4DDE046B-4018-48D7-8D73-CC8D08898B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909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6471CCF-095F-468D-ADFF-411F91FB937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74838" y="6384966"/>
            <a:ext cx="1021520" cy="15284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7B6AD9C4-35A3-4D7A-9B19-F30406AB6CAC}" type="datetimeFigureOut">
              <a:rPr lang="sv-SE" smtClean="0"/>
              <a:t>2025-12-03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0D2D835D-2058-46B0-B2A7-6BEB4597C2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358" y="6383923"/>
            <a:ext cx="3751641" cy="15493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2D76D85-745A-4E90-8EF1-A95FE2D467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47999" y="6383923"/>
            <a:ext cx="1296002" cy="15388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943B2B7-BEA8-4334-A326-592BBB640B0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550716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lnSpc>
          <a:spcPct val="100000"/>
        </a:lnSpc>
        <a:spcBef>
          <a:spcPts val="800"/>
        </a:spcBef>
        <a:buSzPct val="70000"/>
        <a:buFont typeface="Courier New" charset="0"/>
        <a:buChar char="o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08000" indent="-252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260000" indent="-252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id="{18CA09C7-587A-4657-81D5-AC0FD131658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1824" y="6055200"/>
            <a:ext cx="1665480" cy="482611"/>
          </a:xfrm>
          <a:prstGeom prst="rect">
            <a:avLst/>
          </a:prstGeom>
        </p:spPr>
      </p:pic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234B26A-6B2B-4C95-8A12-DEAF372AB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4DDE046B-4018-48D7-8D73-CC8D08898B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909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6471CCF-095F-468D-ADFF-411F91FB937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74838" y="6384966"/>
            <a:ext cx="1021520" cy="15284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517961DE-70CA-1949-9072-9D2A38C11419}" type="datetime1">
              <a:rPr lang="sv-SE" smtClean="0"/>
              <a:t>2025-12-03</a:t>
            </a:fld>
            <a:endParaRPr lang="sv-SE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0D2D835D-2058-46B0-B2A7-6BEB4597C2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358" y="6383923"/>
            <a:ext cx="3751641" cy="15493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2D76D85-745A-4E90-8EF1-A95FE2D467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47999" y="6383923"/>
            <a:ext cx="1296002" cy="15388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B13FB9FB-F0A8-4F05-A3B7-7EDA3F6823CA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95856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lnSpc>
          <a:spcPct val="100000"/>
        </a:lnSpc>
        <a:spcBef>
          <a:spcPts val="800"/>
        </a:spcBef>
        <a:buSzPct val="70000"/>
        <a:buFont typeface="Courier New" charset="0"/>
        <a:buChar char="o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08000" indent="-252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260000" indent="-252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4B27A600-C534-5420-711F-3C28767D765E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12204000" cy="972000"/>
          </a:xfrm>
          <a:prstGeom prst="rect">
            <a:avLst/>
          </a:prstGeom>
          <a:solidFill>
            <a:srgbClr val="5B9BD5">
              <a:alpha val="20000"/>
            </a:srgbClr>
          </a:solidFill>
          <a:ln w="9525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2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  <a:ea typeface="Geneva" pitchFamily="1" charset="-128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58851" y="1079501"/>
            <a:ext cx="10267949" cy="836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sv-SE"/>
              <a:t>Klicka här för att ändra format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58851" y="2159000"/>
            <a:ext cx="10267949" cy="393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754140" y="618609"/>
            <a:ext cx="4064572" cy="118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C3A30A-6E2D-4AA0-A698-C7EC701A20A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58" name="Rectangle 3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716909" y="118343"/>
            <a:ext cx="4213119" cy="4393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3000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/>
              <a:t>2023-04-17</a:t>
            </a:r>
          </a:p>
        </p:txBody>
      </p:sp>
      <p:pic>
        <p:nvPicPr>
          <p:cNvPr id="2" name="Bildobjekt 1">
            <a:extLst>
              <a:ext uri="{FF2B5EF4-FFF2-40B4-BE49-F238E27FC236}">
                <a16:creationId xmlns:a16="http://schemas.microsoft.com/office/drawing/2014/main" id="{3B92A1E3-95B2-AF1A-B32D-3DFA0184726C}"/>
              </a:ext>
            </a:extLst>
          </p:cNvPr>
          <p:cNvPicPr>
            <a:picLocks noChangeAspect="1"/>
          </p:cNvPicPr>
          <p:nvPr userDrawn="1"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934" y="230072"/>
            <a:ext cx="1272131" cy="486234"/>
          </a:xfrm>
          <a:prstGeom prst="rect">
            <a:avLst/>
          </a:prstGeom>
        </p:spPr>
      </p:pic>
      <p:sp>
        <p:nvSpPr>
          <p:cNvPr id="5" name="Rektangel 4">
            <a:extLst>
              <a:ext uri="{FF2B5EF4-FFF2-40B4-BE49-F238E27FC236}">
                <a16:creationId xmlns:a16="http://schemas.microsoft.com/office/drawing/2014/main" id="{243B6014-0490-8BF1-B9DA-4835949B33FA}"/>
              </a:ext>
            </a:extLst>
          </p:cNvPr>
          <p:cNvSpPr/>
          <p:nvPr userDrawn="1"/>
        </p:nvSpPr>
        <p:spPr bwMode="auto">
          <a:xfrm>
            <a:off x="0" y="6498558"/>
            <a:ext cx="12177600" cy="43088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2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  <a:ea typeface="Geneva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79624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797" r:id="rId6"/>
    <p:sldLayoutId id="2147483798" r:id="rId7"/>
    <p:sldLayoutId id="2147483795" r:id="rId8"/>
    <p:sldLayoutId id="2147483796" r:id="rId9"/>
    <p:sldLayoutId id="2147483793" r:id="rId10"/>
    <p:sldLayoutId id="2147483794" r:id="rId11"/>
    <p:sldLayoutId id="2147483791" r:id="rId12"/>
    <p:sldLayoutId id="2147483792" r:id="rId13"/>
    <p:sldLayoutId id="2147483789" r:id="rId14"/>
    <p:sldLayoutId id="2147483790" r:id="rId15"/>
    <p:sldLayoutId id="2147483787" r:id="rId16"/>
    <p:sldLayoutId id="2147483788" r:id="rId17"/>
    <p:sldLayoutId id="2147483785" r:id="rId18"/>
    <p:sldLayoutId id="2147483786" r:id="rId19"/>
    <p:sldLayoutId id="2147483783" r:id="rId20"/>
    <p:sldLayoutId id="2147483784" r:id="rId21"/>
    <p:sldLayoutId id="2147483781" r:id="rId22"/>
    <p:sldLayoutId id="2147483782" r:id="rId23"/>
    <p:sldLayoutId id="2147483779" r:id="rId24"/>
    <p:sldLayoutId id="2147483780" r:id="rId25"/>
    <p:sldLayoutId id="2147483777" r:id="rId26"/>
    <p:sldLayoutId id="2147483778" r:id="rId27"/>
    <p:sldLayoutId id="2147483775" r:id="rId28"/>
    <p:sldLayoutId id="2147483776" r:id="rId29"/>
    <p:sldLayoutId id="2147483773" r:id="rId30"/>
    <p:sldLayoutId id="2147483774" r:id="rId31"/>
    <p:sldLayoutId id="2147483771" r:id="rId32"/>
    <p:sldLayoutId id="2147483772" r:id="rId33"/>
    <p:sldLayoutId id="2147483769" r:id="rId34"/>
    <p:sldLayoutId id="2147483770" r:id="rId35"/>
    <p:sldLayoutId id="2147483767" r:id="rId36"/>
    <p:sldLayoutId id="2147483768" r:id="rId37"/>
    <p:sldLayoutId id="2147483685" r:id="rId38"/>
    <p:sldLayoutId id="2147483755" r:id="rId39"/>
    <p:sldLayoutId id="2147483759" r:id="rId40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Verdana" pitchFamily="34" charset="0"/>
          <a:ea typeface="Geneva" pitchFamily="1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Verdana" pitchFamily="34" charset="0"/>
          <a:ea typeface="Geneva" pitchFamily="1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Verdana" pitchFamily="34" charset="0"/>
          <a:ea typeface="Geneva" pitchFamily="1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Verdana" pitchFamily="34" charset="0"/>
          <a:ea typeface="Geneva" pitchFamily="1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Verdana" pitchFamily="34" charset="0"/>
          <a:ea typeface="Geneva" pitchFamily="1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Verdana" pitchFamily="34" charset="0"/>
          <a:ea typeface="Geneva" pitchFamily="1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Verdana" pitchFamily="34" charset="0"/>
          <a:ea typeface="Geneva" pitchFamily="1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Verdana" pitchFamily="34" charset="0"/>
          <a:ea typeface="Geneva" pitchFamily="1" charset="-128"/>
        </a:defRPr>
      </a:lvl9pPr>
    </p:titleStyle>
    <p:bodyStyle>
      <a:lvl1pPr marL="342900" indent="-342900" algn="l" rtl="0" eaLnBrk="1" fontAlgn="base" hangingPunct="1">
        <a:lnSpc>
          <a:spcPct val="130000"/>
        </a:lnSpc>
        <a:spcBef>
          <a:spcPts val="500"/>
        </a:spcBef>
        <a:spcAft>
          <a:spcPts val="200"/>
        </a:spcAft>
        <a:buFont typeface="Wingdings" pitchFamily="2" charset="2"/>
        <a:buChar char="§"/>
        <a:defRPr sz="2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rtl="0" eaLnBrk="1" fontAlgn="base" hangingPunct="1">
        <a:lnSpc>
          <a:spcPct val="120000"/>
        </a:lnSpc>
        <a:spcBef>
          <a:spcPts val="400"/>
        </a:spcBef>
        <a:spcAft>
          <a:spcPts val="100"/>
        </a:spcAft>
        <a:buChar char="–"/>
        <a:defRPr sz="20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09550" algn="l" rtl="0" eaLnBrk="1" fontAlgn="base" hangingPunct="1">
        <a:lnSpc>
          <a:spcPct val="120000"/>
        </a:lnSpc>
        <a:spcBef>
          <a:spcPts val="400"/>
        </a:spcBef>
        <a:spcAft>
          <a:spcPts val="100"/>
        </a:spcAft>
        <a:buFont typeface="Wingdings" pitchFamily="2" charset="2"/>
        <a:buChar char="§"/>
        <a:defRPr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rtl="0" eaLnBrk="1" fontAlgn="base" hangingPunct="1">
        <a:lnSpc>
          <a:spcPct val="120000"/>
        </a:lnSpc>
        <a:spcBef>
          <a:spcPts val="400"/>
        </a:spcBef>
        <a:spcAft>
          <a:spcPts val="100"/>
        </a:spcAft>
        <a:buChar char="–"/>
        <a:defRPr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rtl="0" eaLnBrk="1" fontAlgn="base" hangingPunct="1">
        <a:lnSpc>
          <a:spcPct val="120000"/>
        </a:lnSpc>
        <a:spcBef>
          <a:spcPts val="400"/>
        </a:spcBef>
        <a:spcAft>
          <a:spcPts val="100"/>
        </a:spcAft>
        <a:buChar char="»"/>
        <a:defRPr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rtl="0" eaLnBrk="1" fontAlgn="base" hangingPunct="1">
        <a:lnSpc>
          <a:spcPct val="120000"/>
        </a:lnSpc>
        <a:spcBef>
          <a:spcPts val="400"/>
        </a:spcBef>
        <a:spcAft>
          <a:spcPts val="100"/>
        </a:spcAft>
        <a:buChar char="»"/>
        <a:defRPr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lnSpc>
          <a:spcPct val="120000"/>
        </a:lnSpc>
        <a:spcBef>
          <a:spcPts val="400"/>
        </a:spcBef>
        <a:spcAft>
          <a:spcPts val="100"/>
        </a:spcAft>
        <a:buChar char="»"/>
        <a:defRPr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lnSpc>
          <a:spcPct val="120000"/>
        </a:lnSpc>
        <a:spcBef>
          <a:spcPts val="400"/>
        </a:spcBef>
        <a:spcAft>
          <a:spcPts val="100"/>
        </a:spcAft>
        <a:buChar char="»"/>
        <a:defRPr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lnSpc>
          <a:spcPct val="120000"/>
        </a:lnSpc>
        <a:spcBef>
          <a:spcPts val="400"/>
        </a:spcBef>
        <a:spcAft>
          <a:spcPts val="100"/>
        </a:spcAft>
        <a:buChar char="»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6.jpe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openxmlformats.org/officeDocument/2006/relationships/image" Target="../media/image48.svg"/><Relationship Id="rId18" Type="http://schemas.openxmlformats.org/officeDocument/2006/relationships/image" Target="../media/image53.png"/><Relationship Id="rId26" Type="http://schemas.openxmlformats.org/officeDocument/2006/relationships/image" Target="../media/image61.png"/><Relationship Id="rId3" Type="http://schemas.openxmlformats.org/officeDocument/2006/relationships/image" Target="../media/image38.png"/><Relationship Id="rId21" Type="http://schemas.openxmlformats.org/officeDocument/2006/relationships/image" Target="../media/image56.svg"/><Relationship Id="rId7" Type="http://schemas.openxmlformats.org/officeDocument/2006/relationships/image" Target="../media/image42.svg"/><Relationship Id="rId12" Type="http://schemas.openxmlformats.org/officeDocument/2006/relationships/image" Target="../media/image47.png"/><Relationship Id="rId17" Type="http://schemas.openxmlformats.org/officeDocument/2006/relationships/image" Target="../media/image52.svg"/><Relationship Id="rId25" Type="http://schemas.openxmlformats.org/officeDocument/2006/relationships/image" Target="../media/image60.svg"/><Relationship Id="rId2" Type="http://schemas.openxmlformats.org/officeDocument/2006/relationships/image" Target="../media/image37.png"/><Relationship Id="rId16" Type="http://schemas.openxmlformats.org/officeDocument/2006/relationships/image" Target="../media/image51.png"/><Relationship Id="rId20" Type="http://schemas.openxmlformats.org/officeDocument/2006/relationships/image" Target="../media/image5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1.png"/><Relationship Id="rId11" Type="http://schemas.openxmlformats.org/officeDocument/2006/relationships/image" Target="../media/image46.svg"/><Relationship Id="rId24" Type="http://schemas.openxmlformats.org/officeDocument/2006/relationships/image" Target="../media/image59.png"/><Relationship Id="rId5" Type="http://schemas.openxmlformats.org/officeDocument/2006/relationships/image" Target="../media/image40.svg"/><Relationship Id="rId15" Type="http://schemas.openxmlformats.org/officeDocument/2006/relationships/image" Target="../media/image50.svg"/><Relationship Id="rId23" Type="http://schemas.openxmlformats.org/officeDocument/2006/relationships/image" Target="../media/image58.svg"/><Relationship Id="rId10" Type="http://schemas.openxmlformats.org/officeDocument/2006/relationships/image" Target="../media/image45.png"/><Relationship Id="rId19" Type="http://schemas.openxmlformats.org/officeDocument/2006/relationships/image" Target="../media/image54.svg"/><Relationship Id="rId4" Type="http://schemas.openxmlformats.org/officeDocument/2006/relationships/image" Target="../media/image39.png"/><Relationship Id="rId9" Type="http://schemas.openxmlformats.org/officeDocument/2006/relationships/image" Target="../media/image44.svg"/><Relationship Id="rId14" Type="http://schemas.openxmlformats.org/officeDocument/2006/relationships/image" Target="../media/image49.png"/><Relationship Id="rId22" Type="http://schemas.openxmlformats.org/officeDocument/2006/relationships/image" Target="../media/image57.png"/><Relationship Id="rId27" Type="http://schemas.openxmlformats.org/officeDocument/2006/relationships/image" Target="../media/image62.sv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regionvarmland.se/vardgivarwebben/vard-och-behandling/strama-varmland/om-strama-varmland" TargetMode="Externa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.xml"/><Relationship Id="rId6" Type="http://schemas.openxmlformats.org/officeDocument/2006/relationships/image" Target="../media/image1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9.png"/><Relationship Id="rId4" Type="http://schemas.openxmlformats.org/officeDocument/2006/relationships/image" Target="../media/image18.jfi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designrr.page/?id=389309&amp;token=929458653&amp;type=FP&amp;h=4090" TargetMode="External"/><Relationship Id="rId7" Type="http://schemas.openxmlformats.org/officeDocument/2006/relationships/image" Target="../media/image28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www.regionvarmland.se/vardgivarwebben/vard-och-behandling/strama-varmland/antibiotikasmarta-tips-for-dig-som-arbetar-pa-sjukhus" TargetMode="Externa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8A990C8-E9E9-46DD-967B-9AF0727641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6093" y="609600"/>
            <a:ext cx="7812531" cy="3309456"/>
          </a:xfrm>
        </p:spPr>
        <p:txBody>
          <a:bodyPr/>
          <a:lstStyle/>
          <a:p>
            <a:r>
              <a:rPr lang="sv-SE" sz="4000" dirty="0"/>
              <a:t>Antibiotikasmart region och sjukhus i Värmland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057E94A7-75EC-44CE-9410-C23957DC3D4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67949" y="4277644"/>
            <a:ext cx="9152119" cy="1390954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sv-SE" sz="2000" dirty="0"/>
              <a:t>2025-11-17 Nätverksdag Antibiotikasmarta sjukhus</a:t>
            </a:r>
          </a:p>
          <a:p>
            <a:endParaRPr lang="sv-SE" sz="2000" dirty="0"/>
          </a:p>
          <a:p>
            <a:r>
              <a:rPr lang="sv-SE" sz="2000" dirty="0"/>
              <a:t>Anna Wimmerstedt,  Thomas Ahlqvist,    Cecilia Grankvist </a:t>
            </a:r>
            <a:endParaRPr lang="sv-SE" sz="2000" dirty="0">
              <a:cs typeface="Arial"/>
            </a:endParaRPr>
          </a:p>
          <a:p>
            <a:r>
              <a:rPr lang="sv-SE" sz="2000" dirty="0"/>
              <a:t>Strama Värmland              Patientsäkerhetsenheten</a:t>
            </a:r>
            <a:endParaRPr lang="sv-SE" sz="2000" dirty="0">
              <a:cs typeface="Arial"/>
            </a:endParaRPr>
          </a:p>
          <a:p>
            <a:endParaRPr lang="sv-SE" dirty="0"/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5027258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3ED89A0-C02C-C564-7FED-212DD96EBF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 anchor="ctr">
            <a:normAutofit/>
          </a:bodyPr>
          <a:lstStyle/>
          <a:p>
            <a:r>
              <a:rPr lang="sv-SE" dirty="0"/>
              <a:t>Antibiotikarond – mall att fylla i </a:t>
            </a: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F60C09A2-032A-1D9D-2F2F-5E21D8258A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52775" y="1505156"/>
            <a:ext cx="5684009" cy="498771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454400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 1">
            <a:extLst>
              <a:ext uri="{FF2B5EF4-FFF2-40B4-BE49-F238E27FC236}">
                <a16:creationId xmlns:a16="http://schemas.microsoft.com/office/drawing/2014/main" id="{4F951975-C0F5-1004-C758-67FE84A140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702" r="-2394" b="7891"/>
          <a:stretch>
            <a:fillRect/>
          </a:stretch>
        </p:blipFill>
        <p:spPr bwMode="auto">
          <a:xfrm>
            <a:off x="6902794" y="2484766"/>
            <a:ext cx="1561121" cy="21681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F682D589-1171-11F1-28F4-B4A48E0582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23603" y="1531644"/>
            <a:ext cx="4140001" cy="823912"/>
          </a:xfrm>
        </p:spPr>
        <p:txBody>
          <a:bodyPr/>
          <a:lstStyle/>
          <a:p>
            <a:r>
              <a:rPr lang="sv-SE" dirty="0"/>
              <a:t>Kvalitativ enkät till</a:t>
            </a:r>
          </a:p>
          <a:p>
            <a:r>
              <a:rPr lang="sv-SE" dirty="0"/>
              <a:t>mottagande enhet </a:t>
            </a:r>
          </a:p>
        </p:txBody>
      </p:sp>
      <p:sp>
        <p:nvSpPr>
          <p:cNvPr id="8" name="Platshållare för text 7">
            <a:extLst>
              <a:ext uri="{FF2B5EF4-FFF2-40B4-BE49-F238E27FC236}">
                <a16:creationId xmlns:a16="http://schemas.microsoft.com/office/drawing/2014/main" id="{5EAB8BE6-DB22-0AA3-DAE4-058D1BA32EC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221485" y="1558493"/>
            <a:ext cx="4140000" cy="823912"/>
          </a:xfrm>
        </p:spPr>
        <p:txBody>
          <a:bodyPr/>
          <a:lstStyle/>
          <a:p>
            <a:r>
              <a:rPr lang="sv-SE" dirty="0"/>
              <a:t>Infektionsläkare fyller i statistik och kvalitativ uppföljning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A6F53E1E-6975-F81F-BDE4-8D42EBDF02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Antibiotikarond - uppföljning</a:t>
            </a:r>
          </a:p>
        </p:txBody>
      </p:sp>
      <p:pic>
        <p:nvPicPr>
          <p:cNvPr id="10" name="Bild 1">
            <a:extLst>
              <a:ext uri="{FF2B5EF4-FFF2-40B4-BE49-F238E27FC236}">
                <a16:creationId xmlns:a16="http://schemas.microsoft.com/office/drawing/2014/main" id="{B254F2CF-C7B3-05B6-76CE-ADC0E69420E9}"/>
              </a:ext>
            </a:extLst>
          </p:cNvPr>
          <p:cNvPicPr>
            <a:picLocks noGrp="1" noChangeAspect="1"/>
          </p:cNvPicPr>
          <p:nvPr>
            <p:ph sz="half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18621" r="-7918" b="22205"/>
          <a:stretch>
            <a:fillRect/>
          </a:stretch>
        </p:blipFill>
        <p:spPr bwMode="auto">
          <a:xfrm>
            <a:off x="1592908" y="2509682"/>
            <a:ext cx="2375200" cy="28315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Bild 3">
            <a:extLst>
              <a:ext uri="{FF2B5EF4-FFF2-40B4-BE49-F238E27FC236}">
                <a16:creationId xmlns:a16="http://schemas.microsoft.com/office/drawing/2014/main" id="{2C964102-667F-D571-253D-4397422E313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55" r="559" b="14785"/>
          <a:stretch>
            <a:fillRect/>
          </a:stretch>
        </p:blipFill>
        <p:spPr bwMode="auto">
          <a:xfrm>
            <a:off x="8571124" y="2464627"/>
            <a:ext cx="1580721" cy="237291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Bild 4">
            <a:extLst>
              <a:ext uri="{FF2B5EF4-FFF2-40B4-BE49-F238E27FC236}">
                <a16:creationId xmlns:a16="http://schemas.microsoft.com/office/drawing/2014/main" id="{E2453DFD-3C15-1D18-B719-93000F7C722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21260" r="-2014" b="21007"/>
          <a:stretch>
            <a:fillRect/>
          </a:stretch>
        </p:blipFill>
        <p:spPr bwMode="auto">
          <a:xfrm>
            <a:off x="9890282" y="3694943"/>
            <a:ext cx="1990934" cy="244964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Bild 1">
            <a:extLst>
              <a:ext uri="{FF2B5EF4-FFF2-40B4-BE49-F238E27FC236}">
                <a16:creationId xmlns:a16="http://schemas.microsoft.com/office/drawing/2014/main" id="{DC48AFBE-1B1D-6F68-8655-224D19A9FC3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203" b="13087"/>
          <a:stretch>
            <a:fillRect/>
          </a:stretch>
        </p:blipFill>
        <p:spPr bwMode="auto">
          <a:xfrm>
            <a:off x="5248151" y="2484766"/>
            <a:ext cx="1593602" cy="25884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440187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>
            <a:extLst>
              <a:ext uri="{FF2B5EF4-FFF2-40B4-BE49-F238E27FC236}">
                <a16:creationId xmlns:a16="http://schemas.microsoft.com/office/drawing/2014/main" id="{BEECE7EF-0E1C-941F-5C0C-79F0FECD1C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140" y="18188"/>
            <a:ext cx="5194935" cy="6858000"/>
          </a:xfrm>
          <a:prstGeom prst="rect">
            <a:avLst/>
          </a:prstGeom>
          <a:noFill/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066AD844-FB37-586D-1170-6C927C0A2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2075" y="485678"/>
            <a:ext cx="6941269" cy="1325563"/>
          </a:xfrm>
        </p:spPr>
        <p:txBody>
          <a:bodyPr/>
          <a:lstStyle/>
          <a:p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väg</a:t>
            </a:r>
            <a:r>
              <a:rPr lang="en-US" dirty="0"/>
              <a:t> mot </a:t>
            </a:r>
            <a:r>
              <a:rPr lang="en-US" dirty="0" err="1"/>
              <a:t>ett</a:t>
            </a:r>
            <a:r>
              <a:rPr lang="en-US" dirty="0"/>
              <a:t> Antibiotikasmart Värmland</a:t>
            </a:r>
          </a:p>
        </p:txBody>
      </p:sp>
      <p:pic>
        <p:nvPicPr>
          <p:cNvPr id="7" name="Bildobjekt 5">
            <a:extLst>
              <a:ext uri="{FF2B5EF4-FFF2-40B4-BE49-F238E27FC236}">
                <a16:creationId xmlns:a16="http://schemas.microsoft.com/office/drawing/2014/main" id="{011A094C-7F61-DD04-973F-1D348674E2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734"/>
          <a:stretch>
            <a:fillRect/>
          </a:stretch>
        </p:blipFill>
        <p:spPr bwMode="auto">
          <a:xfrm>
            <a:off x="8793112" y="2657533"/>
            <a:ext cx="4904600" cy="28934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ruta 7">
            <a:extLst>
              <a:ext uri="{FF2B5EF4-FFF2-40B4-BE49-F238E27FC236}">
                <a16:creationId xmlns:a16="http://schemas.microsoft.com/office/drawing/2014/main" id="{C5552F81-0838-F96E-AC04-B9CFE9E3ADDA}"/>
              </a:ext>
            </a:extLst>
          </p:cNvPr>
          <p:cNvSpPr txBox="1"/>
          <p:nvPr/>
        </p:nvSpPr>
        <p:spPr>
          <a:xfrm>
            <a:off x="6253084" y="2706566"/>
            <a:ext cx="1990449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altLang="sv-S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Nålarna visar kommuner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altLang="sv-S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om har minst en pågående antibiotikasmart verksamhet inom respektive område. Om minst en verksamhet har nått diplomering, byts nålen mot stjärna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altLang="sv-S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Ring som inte är fylld visar planerad anmälan som antibiotikasmart verksamhet inom kommande året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1" name="Bild 20" descr="Cirkeldiagram 100% med hel fyllning">
            <a:extLst>
              <a:ext uri="{FF2B5EF4-FFF2-40B4-BE49-F238E27FC236}">
                <a16:creationId xmlns:a16="http://schemas.microsoft.com/office/drawing/2014/main" id="{8A7E9BA7-566A-4A8D-261F-7C728817F0E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370103" y="4903388"/>
            <a:ext cx="216000" cy="216000"/>
          </a:xfrm>
          <a:prstGeom prst="rect">
            <a:avLst/>
          </a:prstGeom>
        </p:spPr>
      </p:pic>
      <p:pic>
        <p:nvPicPr>
          <p:cNvPr id="23" name="Bild 22" descr="Cirkeldiagram 100% med hel fyllning">
            <a:extLst>
              <a:ext uri="{FF2B5EF4-FFF2-40B4-BE49-F238E27FC236}">
                <a16:creationId xmlns:a16="http://schemas.microsoft.com/office/drawing/2014/main" id="{0F28B7B5-6EAB-7537-3CBB-E4D6DF352A7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87048" y="4501680"/>
            <a:ext cx="216000" cy="216000"/>
          </a:xfrm>
          <a:prstGeom prst="rect">
            <a:avLst/>
          </a:prstGeom>
        </p:spPr>
      </p:pic>
      <p:pic>
        <p:nvPicPr>
          <p:cNvPr id="24" name="Bild 23" descr="Cirkeldiagram 100% med hel fyllning">
            <a:extLst>
              <a:ext uri="{FF2B5EF4-FFF2-40B4-BE49-F238E27FC236}">
                <a16:creationId xmlns:a16="http://schemas.microsoft.com/office/drawing/2014/main" id="{7B9131AD-1E02-7A33-A8A1-33A3BEB5873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370103" y="4175288"/>
            <a:ext cx="216000" cy="216000"/>
          </a:xfrm>
          <a:prstGeom prst="rect">
            <a:avLst/>
          </a:prstGeom>
        </p:spPr>
      </p:pic>
      <p:pic>
        <p:nvPicPr>
          <p:cNvPr id="25" name="Bild 24" descr="Cirkeldiagram 100% med hel fyllning">
            <a:extLst>
              <a:ext uri="{FF2B5EF4-FFF2-40B4-BE49-F238E27FC236}">
                <a16:creationId xmlns:a16="http://schemas.microsoft.com/office/drawing/2014/main" id="{58FC4F74-40E9-AF44-5E65-56D31992661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027085" y="2877406"/>
            <a:ext cx="216000" cy="216000"/>
          </a:xfrm>
          <a:prstGeom prst="rect">
            <a:avLst/>
          </a:prstGeom>
        </p:spPr>
      </p:pic>
      <p:pic>
        <p:nvPicPr>
          <p:cNvPr id="26" name="Bild 25" descr="Cirkeldiagram 100% med hel fyllning">
            <a:extLst>
              <a:ext uri="{FF2B5EF4-FFF2-40B4-BE49-F238E27FC236}">
                <a16:creationId xmlns:a16="http://schemas.microsoft.com/office/drawing/2014/main" id="{93A7F095-E592-021E-5409-BB67E9CCCCC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370103" y="3447188"/>
            <a:ext cx="216000" cy="216000"/>
          </a:xfrm>
          <a:prstGeom prst="rect">
            <a:avLst/>
          </a:prstGeom>
        </p:spPr>
      </p:pic>
      <p:pic>
        <p:nvPicPr>
          <p:cNvPr id="29" name="Bild 28" descr="Cirkeldiagram 100% med hel fyllning">
            <a:extLst>
              <a:ext uri="{FF2B5EF4-FFF2-40B4-BE49-F238E27FC236}">
                <a16:creationId xmlns:a16="http://schemas.microsoft.com/office/drawing/2014/main" id="{975CEBCF-7161-F71C-69C8-562D7626F39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370103" y="2719088"/>
            <a:ext cx="216000" cy="216000"/>
          </a:xfrm>
          <a:prstGeom prst="rect">
            <a:avLst/>
          </a:prstGeom>
        </p:spPr>
      </p:pic>
      <p:pic>
        <p:nvPicPr>
          <p:cNvPr id="34" name="Bild 33" descr="Stjärna med hel fyllning">
            <a:extLst>
              <a:ext uri="{FF2B5EF4-FFF2-40B4-BE49-F238E27FC236}">
                <a16:creationId xmlns:a16="http://schemas.microsoft.com/office/drawing/2014/main" id="{A520013E-027E-4800-D26C-4A6BECF039E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27793" y="5753365"/>
            <a:ext cx="216000" cy="216000"/>
          </a:xfrm>
          <a:prstGeom prst="rect">
            <a:avLst/>
          </a:prstGeom>
        </p:spPr>
      </p:pic>
      <p:pic>
        <p:nvPicPr>
          <p:cNvPr id="35" name="Bild 34" descr="Stjärna med hel fyllning">
            <a:extLst>
              <a:ext uri="{FF2B5EF4-FFF2-40B4-BE49-F238E27FC236}">
                <a16:creationId xmlns:a16="http://schemas.microsoft.com/office/drawing/2014/main" id="{2A778AC4-BCB4-3946-C32F-76BD166F123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076800" y="5140726"/>
            <a:ext cx="216000" cy="216000"/>
          </a:xfrm>
          <a:prstGeom prst="rect">
            <a:avLst/>
          </a:prstGeom>
        </p:spPr>
      </p:pic>
      <p:pic>
        <p:nvPicPr>
          <p:cNvPr id="36" name="Bild 35" descr="Cirkeldiagram 100% med hel fyllning">
            <a:extLst>
              <a:ext uri="{FF2B5EF4-FFF2-40B4-BE49-F238E27FC236}">
                <a16:creationId xmlns:a16="http://schemas.microsoft.com/office/drawing/2014/main" id="{0091685D-3CC8-957A-F0CD-235D8A25842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076608" y="1501274"/>
            <a:ext cx="216000" cy="216000"/>
          </a:xfrm>
          <a:prstGeom prst="rect">
            <a:avLst/>
          </a:prstGeom>
        </p:spPr>
      </p:pic>
      <p:pic>
        <p:nvPicPr>
          <p:cNvPr id="37" name="Bild 36" descr="Cirkeldiagram 100% med hel fyllning">
            <a:extLst>
              <a:ext uri="{FF2B5EF4-FFF2-40B4-BE49-F238E27FC236}">
                <a16:creationId xmlns:a16="http://schemas.microsoft.com/office/drawing/2014/main" id="{D1C3D112-2D96-B97F-C4CF-4236E17BA2A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562485" y="3976695"/>
            <a:ext cx="216000" cy="216000"/>
          </a:xfrm>
          <a:prstGeom prst="rect">
            <a:avLst/>
          </a:prstGeom>
        </p:spPr>
      </p:pic>
      <p:pic>
        <p:nvPicPr>
          <p:cNvPr id="38" name="Bild 37" descr="Cirkeldiagram 100% med hel fyllning">
            <a:extLst>
              <a:ext uri="{FF2B5EF4-FFF2-40B4-BE49-F238E27FC236}">
                <a16:creationId xmlns:a16="http://schemas.microsoft.com/office/drawing/2014/main" id="{AF7C05AE-F31D-7D27-6442-77DF5948C3E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633135" y="4621213"/>
            <a:ext cx="216000" cy="216000"/>
          </a:xfrm>
          <a:prstGeom prst="rect">
            <a:avLst/>
          </a:prstGeom>
        </p:spPr>
      </p:pic>
      <p:pic>
        <p:nvPicPr>
          <p:cNvPr id="39" name="Bild 38" descr="Cirkeldiagram 100% med hel fyllning">
            <a:extLst>
              <a:ext uri="{FF2B5EF4-FFF2-40B4-BE49-F238E27FC236}">
                <a16:creationId xmlns:a16="http://schemas.microsoft.com/office/drawing/2014/main" id="{D05F636C-738A-AF17-F70D-D782D7A0737E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411437" y="4621213"/>
            <a:ext cx="216000" cy="216000"/>
          </a:xfrm>
          <a:prstGeom prst="rect">
            <a:avLst/>
          </a:prstGeom>
        </p:spPr>
      </p:pic>
      <p:pic>
        <p:nvPicPr>
          <p:cNvPr id="43" name="Bild 42" descr="Cirkeldiagram 100% med hel fyllning">
            <a:extLst>
              <a:ext uri="{FF2B5EF4-FFF2-40B4-BE49-F238E27FC236}">
                <a16:creationId xmlns:a16="http://schemas.microsoft.com/office/drawing/2014/main" id="{6894B0E8-6831-6EDC-FE93-5063D3F04CA3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4789637" y="4079960"/>
            <a:ext cx="216000" cy="216000"/>
          </a:xfrm>
          <a:prstGeom prst="rect">
            <a:avLst/>
          </a:prstGeom>
        </p:spPr>
      </p:pic>
      <p:pic>
        <p:nvPicPr>
          <p:cNvPr id="44" name="Bild 43" descr="Cirkeldiagram 100% med hel fyllning">
            <a:extLst>
              <a:ext uri="{FF2B5EF4-FFF2-40B4-BE49-F238E27FC236}">
                <a16:creationId xmlns:a16="http://schemas.microsoft.com/office/drawing/2014/main" id="{3CD56F39-99F4-BB9A-E6E3-52437DCEA632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8370103" y="3811238"/>
            <a:ext cx="216000" cy="216000"/>
          </a:xfrm>
          <a:prstGeom prst="rect">
            <a:avLst/>
          </a:prstGeom>
        </p:spPr>
      </p:pic>
      <p:pic>
        <p:nvPicPr>
          <p:cNvPr id="45" name="Bild 44" descr="Cirkeldiagram 100% med hel fyllning">
            <a:extLst>
              <a:ext uri="{FF2B5EF4-FFF2-40B4-BE49-F238E27FC236}">
                <a16:creationId xmlns:a16="http://schemas.microsoft.com/office/drawing/2014/main" id="{6286C8D9-2F6B-B30C-FC0F-D05963DA382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364800" y="3710551"/>
            <a:ext cx="216000" cy="216000"/>
          </a:xfrm>
          <a:prstGeom prst="rect">
            <a:avLst/>
          </a:prstGeom>
        </p:spPr>
      </p:pic>
      <p:pic>
        <p:nvPicPr>
          <p:cNvPr id="46" name="Bild 45" descr="Cirkeldiagram 100% med hel fyllning">
            <a:extLst>
              <a:ext uri="{FF2B5EF4-FFF2-40B4-BE49-F238E27FC236}">
                <a16:creationId xmlns:a16="http://schemas.microsoft.com/office/drawing/2014/main" id="{CBEC059F-05D2-22B9-AC92-D7E7D431EAB9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896052" y="4066805"/>
            <a:ext cx="216000" cy="216000"/>
          </a:xfrm>
          <a:prstGeom prst="rect">
            <a:avLst/>
          </a:prstGeom>
        </p:spPr>
      </p:pic>
      <p:pic>
        <p:nvPicPr>
          <p:cNvPr id="47" name="Bild 46" descr="Cirkeldiagram 100% med hel fyllning">
            <a:extLst>
              <a:ext uri="{FF2B5EF4-FFF2-40B4-BE49-F238E27FC236}">
                <a16:creationId xmlns:a16="http://schemas.microsoft.com/office/drawing/2014/main" id="{8711B70F-4905-7AB5-AC25-A45E3739D0B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455663" y="4414915"/>
            <a:ext cx="216000" cy="216000"/>
          </a:xfrm>
          <a:prstGeom prst="rect">
            <a:avLst/>
          </a:prstGeom>
        </p:spPr>
      </p:pic>
      <p:pic>
        <p:nvPicPr>
          <p:cNvPr id="48" name="Bild 47" descr="Cirkeldiagram 100% med hel fyllning">
            <a:extLst>
              <a:ext uri="{FF2B5EF4-FFF2-40B4-BE49-F238E27FC236}">
                <a16:creationId xmlns:a16="http://schemas.microsoft.com/office/drawing/2014/main" id="{406B7D67-D005-62FD-EE3E-ED105F552F3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983334" y="4776017"/>
            <a:ext cx="216000" cy="216000"/>
          </a:xfrm>
          <a:prstGeom prst="rect">
            <a:avLst/>
          </a:prstGeom>
        </p:spPr>
      </p:pic>
      <p:pic>
        <p:nvPicPr>
          <p:cNvPr id="49" name="Bild 48" descr="Cirkeldiagram 100% med hel fyllning">
            <a:extLst>
              <a:ext uri="{FF2B5EF4-FFF2-40B4-BE49-F238E27FC236}">
                <a16:creationId xmlns:a16="http://schemas.microsoft.com/office/drawing/2014/main" id="{D6E43EC3-68AC-EF5E-3AAA-F5170B075974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789219" y="3745099"/>
            <a:ext cx="216000" cy="216000"/>
          </a:xfrm>
          <a:prstGeom prst="rect">
            <a:avLst/>
          </a:prstGeom>
        </p:spPr>
      </p:pic>
      <p:pic>
        <p:nvPicPr>
          <p:cNvPr id="50" name="Bild 49" descr="Cirkeldiagram 100% med hel fyllning">
            <a:extLst>
              <a:ext uri="{FF2B5EF4-FFF2-40B4-BE49-F238E27FC236}">
                <a16:creationId xmlns:a16="http://schemas.microsoft.com/office/drawing/2014/main" id="{125D3189-02B9-2EBF-538E-DC931053E79F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974102" y="3601099"/>
            <a:ext cx="216000" cy="216000"/>
          </a:xfrm>
          <a:prstGeom prst="rect">
            <a:avLst/>
          </a:prstGeom>
        </p:spPr>
      </p:pic>
      <p:pic>
        <p:nvPicPr>
          <p:cNvPr id="51" name="Bild 50" descr="Cirkeldiagram 100% med hel fyllning">
            <a:extLst>
              <a:ext uri="{FF2B5EF4-FFF2-40B4-BE49-F238E27FC236}">
                <a16:creationId xmlns:a16="http://schemas.microsoft.com/office/drawing/2014/main" id="{7335A979-C8AB-4D86-6C02-59B4DE71F9FB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300340" y="1566864"/>
            <a:ext cx="216000" cy="216000"/>
          </a:xfrm>
          <a:prstGeom prst="rect">
            <a:avLst/>
          </a:prstGeom>
        </p:spPr>
      </p:pic>
      <p:pic>
        <p:nvPicPr>
          <p:cNvPr id="52" name="Bild 51" descr="Cirkeldiagram 100% med hel fyllning">
            <a:extLst>
              <a:ext uri="{FF2B5EF4-FFF2-40B4-BE49-F238E27FC236}">
                <a16:creationId xmlns:a16="http://schemas.microsoft.com/office/drawing/2014/main" id="{5ABC68F1-B594-6EA0-4025-808D037B64F3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4755328" y="5298210"/>
            <a:ext cx="216000" cy="216000"/>
          </a:xfrm>
          <a:prstGeom prst="rect">
            <a:avLst/>
          </a:prstGeom>
        </p:spPr>
      </p:pic>
      <p:pic>
        <p:nvPicPr>
          <p:cNvPr id="53" name="Bild 52" descr="Cirkeldiagram 100% med hel fyllning">
            <a:extLst>
              <a:ext uri="{FF2B5EF4-FFF2-40B4-BE49-F238E27FC236}">
                <a16:creationId xmlns:a16="http://schemas.microsoft.com/office/drawing/2014/main" id="{92D1B15B-2B96-43B2-AEEF-DA27D962A8B3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4234946" y="4671651"/>
            <a:ext cx="216000" cy="216000"/>
          </a:xfrm>
          <a:prstGeom prst="rect">
            <a:avLst/>
          </a:prstGeom>
        </p:spPr>
      </p:pic>
      <p:pic>
        <p:nvPicPr>
          <p:cNvPr id="2" name="Bild 1" descr="Cirkeldiagram 100% med hel fyllning">
            <a:extLst>
              <a:ext uri="{FF2B5EF4-FFF2-40B4-BE49-F238E27FC236}">
                <a16:creationId xmlns:a16="http://schemas.microsoft.com/office/drawing/2014/main" id="{1B7416FF-8202-FBC7-DC85-BC6A92059510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8370103" y="3083138"/>
            <a:ext cx="216000" cy="216000"/>
          </a:xfrm>
          <a:prstGeom prst="rect">
            <a:avLst/>
          </a:prstGeom>
        </p:spPr>
      </p:pic>
      <p:pic>
        <p:nvPicPr>
          <p:cNvPr id="3" name="Bild 2" descr="Cirkeldiagram 100% med hel fyllning">
            <a:extLst>
              <a:ext uri="{FF2B5EF4-FFF2-40B4-BE49-F238E27FC236}">
                <a16:creationId xmlns:a16="http://schemas.microsoft.com/office/drawing/2014/main" id="{F335378C-39C5-6417-35D9-1A775C41DD4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70103" y="5267439"/>
            <a:ext cx="216000" cy="216000"/>
          </a:xfrm>
          <a:prstGeom prst="rect">
            <a:avLst/>
          </a:prstGeom>
        </p:spPr>
      </p:pic>
      <p:pic>
        <p:nvPicPr>
          <p:cNvPr id="5" name="Bild 4" descr="Cirkeldiagram 100% med hel fyllning">
            <a:extLst>
              <a:ext uri="{FF2B5EF4-FFF2-40B4-BE49-F238E27FC236}">
                <a16:creationId xmlns:a16="http://schemas.microsoft.com/office/drawing/2014/main" id="{A2903B4F-0E77-9DE8-1DFF-2B6FA13D895D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370103" y="4539338"/>
            <a:ext cx="216000" cy="216000"/>
          </a:xfrm>
          <a:prstGeom prst="rect">
            <a:avLst/>
          </a:prstGeom>
        </p:spPr>
      </p:pic>
      <p:pic>
        <p:nvPicPr>
          <p:cNvPr id="6" name="Bild 5" descr="Stjärna med hel fyllning">
            <a:extLst>
              <a:ext uri="{FF2B5EF4-FFF2-40B4-BE49-F238E27FC236}">
                <a16:creationId xmlns:a16="http://schemas.microsoft.com/office/drawing/2014/main" id="{0121EEEA-D25E-32A9-1FB5-BF79C4D37344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872943" y="5456411"/>
            <a:ext cx="216000" cy="216000"/>
          </a:xfrm>
          <a:prstGeom prst="rect">
            <a:avLst/>
          </a:prstGeom>
        </p:spPr>
      </p:pic>
      <p:pic>
        <p:nvPicPr>
          <p:cNvPr id="10" name="Bild 9" descr="Cirkeldiagram 100% med hel fyllning">
            <a:extLst>
              <a:ext uri="{FF2B5EF4-FFF2-40B4-BE49-F238E27FC236}">
                <a16:creationId xmlns:a16="http://schemas.microsoft.com/office/drawing/2014/main" id="{A1D63062-49D2-056C-D27A-82B0334802A6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7642684" y="5210847"/>
            <a:ext cx="216000" cy="216000"/>
          </a:xfrm>
          <a:prstGeom prst="rect">
            <a:avLst/>
          </a:prstGeom>
        </p:spPr>
      </p:pic>
      <p:pic>
        <p:nvPicPr>
          <p:cNvPr id="11" name="Bild 10" descr="Stjärna med hel fyllning">
            <a:extLst>
              <a:ext uri="{FF2B5EF4-FFF2-40B4-BE49-F238E27FC236}">
                <a16:creationId xmlns:a16="http://schemas.microsoft.com/office/drawing/2014/main" id="{D3ED29E5-E6A1-23E0-3DA1-7613D8AAFF2F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7634615" y="4187960"/>
            <a:ext cx="216000" cy="216000"/>
          </a:xfrm>
          <a:prstGeom prst="rect">
            <a:avLst/>
          </a:prstGeom>
        </p:spPr>
      </p:pic>
      <p:sp>
        <p:nvSpPr>
          <p:cNvPr id="9" name="textruta 8">
            <a:extLst>
              <a:ext uri="{FF2B5EF4-FFF2-40B4-BE49-F238E27FC236}">
                <a16:creationId xmlns:a16="http://schemas.microsoft.com/office/drawing/2014/main" id="{786C3733-BBF7-D0AC-BF5E-625C9C1BDB0D}"/>
              </a:ext>
            </a:extLst>
          </p:cNvPr>
          <p:cNvSpPr txBox="1"/>
          <p:nvPr/>
        </p:nvSpPr>
        <p:spPr>
          <a:xfrm>
            <a:off x="5782075" y="6243685"/>
            <a:ext cx="50616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/>
              <a:t>Region, sjukhus och vårdcentraler 2027</a:t>
            </a:r>
          </a:p>
        </p:txBody>
      </p:sp>
    </p:spTree>
    <p:extLst>
      <p:ext uri="{BB962C8B-B14F-4D97-AF65-F5344CB8AC3E}">
        <p14:creationId xmlns:p14="http://schemas.microsoft.com/office/powerpoint/2010/main" val="37473395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text 1">
            <a:extLst>
              <a:ext uri="{FF2B5EF4-FFF2-40B4-BE49-F238E27FC236}">
                <a16:creationId xmlns:a16="http://schemas.microsoft.com/office/drawing/2014/main" id="{301CBEA3-9617-9AFF-E7F9-4FB1989D56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Hinder 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44535AF4-F1D1-8AA8-DAB5-427FF84E9DF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sv-SE" dirty="0"/>
              <a:t>Framgångsfaktorer</a:t>
            </a:r>
          </a:p>
        </p:txBody>
      </p:sp>
      <p:sp>
        <p:nvSpPr>
          <p:cNvPr id="4" name="Rubrik 3">
            <a:extLst>
              <a:ext uri="{FF2B5EF4-FFF2-40B4-BE49-F238E27FC236}">
                <a16:creationId xmlns:a16="http://schemas.microsoft.com/office/drawing/2014/main" id="{D7798C1F-DD7B-F60D-2195-F5050E3790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CC4348A8-05EA-EE09-8BA9-CA27D6DCDBBE}"/>
              </a:ext>
            </a:extLst>
          </p:cNvPr>
          <p:cNvSpPr>
            <a:spLocks noGrp="1"/>
          </p:cNvSpPr>
          <p:nvPr>
            <p:ph sz="half" idx="13"/>
          </p:nvPr>
        </p:nvSpPr>
        <p:spPr/>
        <p:txBody>
          <a:bodyPr/>
          <a:lstStyle/>
          <a:p>
            <a:r>
              <a:rPr lang="sv-SE" dirty="0"/>
              <a:t>Komplex verksamhet</a:t>
            </a:r>
          </a:p>
          <a:p>
            <a:r>
              <a:rPr lang="sv-SE" dirty="0"/>
              <a:t>Få resurser/generationsväxling</a:t>
            </a:r>
          </a:p>
          <a:p>
            <a:r>
              <a:rPr lang="sv-SE" dirty="0"/>
              <a:t>Riktlinjesystemet behöver förbättras </a:t>
            </a:r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4DE2722C-AC5D-0618-FDB5-78A532F78C01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sv-SE" dirty="0"/>
              <a:t>Mycket väl fungerande samverkan Strama, Smittskydd, Patientsäkerhet, kommunikation</a:t>
            </a:r>
          </a:p>
          <a:p>
            <a:pPr marL="0" indent="0">
              <a:buNone/>
            </a:pPr>
            <a:r>
              <a:rPr lang="sv-SE" dirty="0"/>
              <a:t>Ledningens engagemang</a:t>
            </a:r>
          </a:p>
          <a:p>
            <a:pPr marL="0" indent="0">
              <a:buNone/>
            </a:pPr>
            <a:r>
              <a:rPr lang="sv-SE" dirty="0"/>
              <a:t>Välfungerande nätverk: hygienombud, sepsisombud, MAS-nätverk</a:t>
            </a:r>
          </a:p>
          <a:p>
            <a:pPr marL="0" indent="0">
              <a:buNone/>
            </a:pPr>
            <a:r>
              <a:rPr lang="sv-SE" dirty="0"/>
              <a:t>3 sjukhus parallellt</a:t>
            </a:r>
          </a:p>
          <a:p>
            <a:pPr marL="0" indent="0">
              <a:buNone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4484579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761452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Bild 23" descr="Fyrklöver med hel fyllning">
            <a:extLst>
              <a:ext uri="{FF2B5EF4-FFF2-40B4-BE49-F238E27FC236}">
                <a16:creationId xmlns:a16="http://schemas.microsoft.com/office/drawing/2014/main" id="{3457EF29-55C3-4594-C0B4-CC28E285AAE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7216" y="1250473"/>
            <a:ext cx="5299947" cy="5299947"/>
          </a:xfrm>
          <a:prstGeom prst="rect">
            <a:avLst/>
          </a:prstGeom>
        </p:spPr>
      </p:pic>
      <p:pic>
        <p:nvPicPr>
          <p:cNvPr id="4" name="Bildobjekt 3">
            <a:extLst>
              <a:ext uri="{FF2B5EF4-FFF2-40B4-BE49-F238E27FC236}">
                <a16:creationId xmlns:a16="http://schemas.microsoft.com/office/drawing/2014/main" id="{A0DD3F8F-12BC-7FCE-BF42-AD15394419A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69161" y="1250473"/>
            <a:ext cx="3307616" cy="46084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Bildobjekt 5">
            <a:extLst>
              <a:ext uri="{FF2B5EF4-FFF2-40B4-BE49-F238E27FC236}">
                <a16:creationId xmlns:a16="http://schemas.microsoft.com/office/drawing/2014/main" id="{6F2A3DF4-9F24-0EFA-959E-C91C05F7592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12527" y="1240652"/>
            <a:ext cx="3206929" cy="467096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textruta 6">
            <a:extLst>
              <a:ext uri="{FF2B5EF4-FFF2-40B4-BE49-F238E27FC236}">
                <a16:creationId xmlns:a16="http://schemas.microsoft.com/office/drawing/2014/main" id="{5B91FB86-3323-C20B-04AE-12AA8E409F5D}"/>
              </a:ext>
            </a:extLst>
          </p:cNvPr>
          <p:cNvSpPr txBox="1"/>
          <p:nvPr/>
        </p:nvSpPr>
        <p:spPr>
          <a:xfrm>
            <a:off x="4669161" y="6162962"/>
            <a:ext cx="48800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>
                <a:hlinkClick r:id="rId6"/>
              </a:rPr>
              <a:t>Om Strama Värmland - Region Värmland</a:t>
            </a:r>
            <a:endParaRPr lang="sv-SE" dirty="0"/>
          </a:p>
        </p:txBody>
      </p:sp>
      <p:sp>
        <p:nvSpPr>
          <p:cNvPr id="15" name="Rubrik 14">
            <a:extLst>
              <a:ext uri="{FF2B5EF4-FFF2-40B4-BE49-F238E27FC236}">
                <a16:creationId xmlns:a16="http://schemas.microsoft.com/office/drawing/2014/main" id="{4AAE17E2-353B-6B3C-1989-3D2CAE20A2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9549" y="-273351"/>
            <a:ext cx="11046840" cy="1325563"/>
          </a:xfrm>
        </p:spPr>
        <p:txBody>
          <a:bodyPr/>
          <a:lstStyle/>
          <a:p>
            <a:r>
              <a:rPr lang="sv-SE" dirty="0"/>
              <a:t>Tillsammans för ett antibiotikasmart Värmland</a:t>
            </a:r>
          </a:p>
        </p:txBody>
      </p:sp>
      <p:sp>
        <p:nvSpPr>
          <p:cNvPr id="19" name="textruta 18">
            <a:extLst>
              <a:ext uri="{FF2B5EF4-FFF2-40B4-BE49-F238E27FC236}">
                <a16:creationId xmlns:a16="http://schemas.microsoft.com/office/drawing/2014/main" id="{58232649-19A6-3D5A-36E5-066F516F7EB3}"/>
              </a:ext>
            </a:extLst>
          </p:cNvPr>
          <p:cNvSpPr txBox="1"/>
          <p:nvPr/>
        </p:nvSpPr>
        <p:spPr>
          <a:xfrm>
            <a:off x="2127136" y="2385410"/>
            <a:ext cx="16920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/>
              <a:t>Strama </a:t>
            </a:r>
          </a:p>
        </p:txBody>
      </p:sp>
      <p:sp>
        <p:nvSpPr>
          <p:cNvPr id="20" name="textruta 19">
            <a:extLst>
              <a:ext uri="{FF2B5EF4-FFF2-40B4-BE49-F238E27FC236}">
                <a16:creationId xmlns:a16="http://schemas.microsoft.com/office/drawing/2014/main" id="{0413A624-CB5B-A117-06FD-E81462BD21C1}"/>
              </a:ext>
            </a:extLst>
          </p:cNvPr>
          <p:cNvSpPr txBox="1"/>
          <p:nvPr/>
        </p:nvSpPr>
        <p:spPr>
          <a:xfrm>
            <a:off x="1139081" y="3303919"/>
            <a:ext cx="16920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/>
              <a:t>Smittskydd-vårdhygien </a:t>
            </a:r>
          </a:p>
        </p:txBody>
      </p:sp>
      <p:sp>
        <p:nvSpPr>
          <p:cNvPr id="21" name="textruta 20">
            <a:extLst>
              <a:ext uri="{FF2B5EF4-FFF2-40B4-BE49-F238E27FC236}">
                <a16:creationId xmlns:a16="http://schemas.microsoft.com/office/drawing/2014/main" id="{60531F8D-2959-37D1-4E65-177CC0574739}"/>
              </a:ext>
            </a:extLst>
          </p:cNvPr>
          <p:cNvSpPr txBox="1"/>
          <p:nvPr/>
        </p:nvSpPr>
        <p:spPr>
          <a:xfrm>
            <a:off x="2831148" y="3159383"/>
            <a:ext cx="18786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/>
              <a:t>Patientsäkerhet - Chefläkare</a:t>
            </a:r>
          </a:p>
        </p:txBody>
      </p:sp>
      <p:sp>
        <p:nvSpPr>
          <p:cNvPr id="25" name="textruta 24">
            <a:extLst>
              <a:ext uri="{FF2B5EF4-FFF2-40B4-BE49-F238E27FC236}">
                <a16:creationId xmlns:a16="http://schemas.microsoft.com/office/drawing/2014/main" id="{BC3DDD0D-1034-1B49-293E-EF987E7FB3D5}"/>
              </a:ext>
            </a:extLst>
          </p:cNvPr>
          <p:cNvSpPr txBox="1"/>
          <p:nvPr/>
        </p:nvSpPr>
        <p:spPr>
          <a:xfrm>
            <a:off x="2378707" y="4280838"/>
            <a:ext cx="2122579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sv-SE" dirty="0"/>
              <a:t>Kommunikations-avdelningen</a:t>
            </a:r>
          </a:p>
        </p:txBody>
      </p:sp>
    </p:spTree>
    <p:extLst>
      <p:ext uri="{BB962C8B-B14F-4D97-AF65-F5344CB8AC3E}">
        <p14:creationId xmlns:p14="http://schemas.microsoft.com/office/powerpoint/2010/main" val="31249613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il: femhörning 28">
            <a:extLst>
              <a:ext uri="{FF2B5EF4-FFF2-40B4-BE49-F238E27FC236}">
                <a16:creationId xmlns:a16="http://schemas.microsoft.com/office/drawing/2014/main" id="{803A5F77-F81C-E942-807C-728CB3ECEA79}"/>
              </a:ext>
            </a:extLst>
          </p:cNvPr>
          <p:cNvSpPr/>
          <p:nvPr/>
        </p:nvSpPr>
        <p:spPr>
          <a:xfrm>
            <a:off x="475861" y="562247"/>
            <a:ext cx="11331983" cy="1547943"/>
          </a:xfrm>
          <a:prstGeom prst="homePlate">
            <a:avLst/>
          </a:prstGeom>
          <a:solidFill>
            <a:srgbClr val="D9F2D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" name="Rektangel 29">
            <a:extLst>
              <a:ext uri="{FF2B5EF4-FFF2-40B4-BE49-F238E27FC236}">
                <a16:creationId xmlns:a16="http://schemas.microsoft.com/office/drawing/2014/main" id="{93B8DF8F-7699-3E89-FE7E-1D82C8229EFA}"/>
              </a:ext>
            </a:extLst>
          </p:cNvPr>
          <p:cNvSpPr/>
          <p:nvPr/>
        </p:nvSpPr>
        <p:spPr>
          <a:xfrm>
            <a:off x="1269696" y="890221"/>
            <a:ext cx="4454401" cy="10583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sv-SE" sz="1600">
                <a:solidFill>
                  <a:prstClr val="black"/>
                </a:solidFill>
                <a:latin typeface="Aptos" panose="02110004020202020204"/>
              </a:rPr>
              <a:t>Processgrupp övergripande och per sjukhu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amverkansgrupp </a:t>
            </a:r>
            <a:r>
              <a:rPr kumimoji="0" lang="sv-SE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atientsäkerhet-VH-Strama</a:t>
            </a: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>
              <a:defRPr/>
            </a:pPr>
            <a:r>
              <a:rPr lang="sv-SE" sz="1600">
                <a:solidFill>
                  <a:prstClr val="black"/>
                </a:solidFill>
                <a:latin typeface="Aptos" panose="02110004020202020204"/>
              </a:rPr>
              <a:t>Statistik och uppföljn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" name="Rektangel 30">
            <a:extLst>
              <a:ext uri="{FF2B5EF4-FFF2-40B4-BE49-F238E27FC236}">
                <a16:creationId xmlns:a16="http://schemas.microsoft.com/office/drawing/2014/main" id="{1BF89407-A794-27F9-7B0E-2DDE624CD932}"/>
              </a:ext>
            </a:extLst>
          </p:cNvPr>
          <p:cNvSpPr/>
          <p:nvPr/>
        </p:nvSpPr>
        <p:spPr>
          <a:xfrm>
            <a:off x="1243918" y="1573411"/>
            <a:ext cx="4505958" cy="4665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" name="Rektangel 31">
            <a:extLst>
              <a:ext uri="{FF2B5EF4-FFF2-40B4-BE49-F238E27FC236}">
                <a16:creationId xmlns:a16="http://schemas.microsoft.com/office/drawing/2014/main" id="{88AA5F8D-1B88-FACB-45E6-1184E19F8FBB}"/>
              </a:ext>
            </a:extLst>
          </p:cNvPr>
          <p:cNvSpPr/>
          <p:nvPr/>
        </p:nvSpPr>
        <p:spPr>
          <a:xfrm>
            <a:off x="1216604" y="635206"/>
            <a:ext cx="4879396" cy="4665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Rektangel 33">
            <a:extLst>
              <a:ext uri="{FF2B5EF4-FFF2-40B4-BE49-F238E27FC236}">
                <a16:creationId xmlns:a16="http://schemas.microsoft.com/office/drawing/2014/main" id="{21978DFB-A3BA-ED94-3267-788CB6B77CE6}"/>
              </a:ext>
            </a:extLst>
          </p:cNvPr>
          <p:cNvSpPr/>
          <p:nvPr/>
        </p:nvSpPr>
        <p:spPr>
          <a:xfrm rot="16200000">
            <a:off x="284523" y="1115340"/>
            <a:ext cx="1026374" cy="35145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gion</a:t>
            </a:r>
          </a:p>
        </p:txBody>
      </p:sp>
      <p:sp>
        <p:nvSpPr>
          <p:cNvPr id="35" name="Pil: femhörning 34">
            <a:extLst>
              <a:ext uri="{FF2B5EF4-FFF2-40B4-BE49-F238E27FC236}">
                <a16:creationId xmlns:a16="http://schemas.microsoft.com/office/drawing/2014/main" id="{F348DE68-36B9-6F25-96E1-D709FEACDC7A}"/>
              </a:ext>
            </a:extLst>
          </p:cNvPr>
          <p:cNvSpPr/>
          <p:nvPr/>
        </p:nvSpPr>
        <p:spPr>
          <a:xfrm>
            <a:off x="621983" y="2685224"/>
            <a:ext cx="11122089" cy="1547943"/>
          </a:xfrm>
          <a:prstGeom prst="homePlate">
            <a:avLst/>
          </a:prstGeom>
          <a:solidFill>
            <a:srgbClr val="EBF6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" name="Rektangel 35">
            <a:extLst>
              <a:ext uri="{FF2B5EF4-FFF2-40B4-BE49-F238E27FC236}">
                <a16:creationId xmlns:a16="http://schemas.microsoft.com/office/drawing/2014/main" id="{273D2FF9-3C85-F43C-BD1A-C4576CC808D1}"/>
              </a:ext>
            </a:extLst>
          </p:cNvPr>
          <p:cNvSpPr/>
          <p:nvPr/>
        </p:nvSpPr>
        <p:spPr>
          <a:xfrm>
            <a:off x="1347033" y="3379362"/>
            <a:ext cx="2789851" cy="4665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" name="Rektangel 36">
            <a:extLst>
              <a:ext uri="{FF2B5EF4-FFF2-40B4-BE49-F238E27FC236}">
                <a16:creationId xmlns:a16="http://schemas.microsoft.com/office/drawing/2014/main" id="{86B19CDD-4CF0-E520-F82B-55746E5B2020}"/>
              </a:ext>
            </a:extLst>
          </p:cNvPr>
          <p:cNvSpPr/>
          <p:nvPr/>
        </p:nvSpPr>
        <p:spPr>
          <a:xfrm>
            <a:off x="1347033" y="3140424"/>
            <a:ext cx="3301174" cy="10263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mråde medicinska specialiteter</a:t>
            </a:r>
          </a:p>
          <a:p>
            <a:pPr>
              <a:defRPr/>
            </a:pPr>
            <a:r>
              <a:rPr lang="sv-SE" sz="1600">
                <a:solidFill>
                  <a:prstClr val="black"/>
                </a:solidFill>
                <a:latin typeface="Aptos" panose="02110004020202020204"/>
              </a:rPr>
              <a:t>Område kirurgiska specialiteter</a:t>
            </a:r>
          </a:p>
          <a:p>
            <a:pPr lvl="0">
              <a:defRPr/>
            </a:pPr>
            <a:r>
              <a:rPr lang="sv-SE" sz="1600">
                <a:solidFill>
                  <a:prstClr val="black"/>
                </a:solidFill>
                <a:latin typeface="Aptos" panose="02110004020202020204"/>
              </a:rPr>
              <a:t>Område Torsby</a:t>
            </a:r>
          </a:p>
          <a:p>
            <a:pPr lvl="0">
              <a:defRPr/>
            </a:pPr>
            <a:r>
              <a:rPr lang="sv-SE" sz="1600">
                <a:solidFill>
                  <a:prstClr val="black"/>
                </a:solidFill>
                <a:latin typeface="Aptos" panose="02110004020202020204"/>
              </a:rPr>
              <a:t>Område Arvika</a:t>
            </a:r>
          </a:p>
          <a:p>
            <a:pPr>
              <a:defRPr/>
            </a:pPr>
            <a:endParaRPr lang="sv-SE" sz="1600">
              <a:solidFill>
                <a:prstClr val="black"/>
              </a:solidFill>
              <a:latin typeface="Aptos" panose="0211000402020202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</p:txBody>
      </p:sp>
      <p:sp>
        <p:nvSpPr>
          <p:cNvPr id="38" name="Rektangel 37">
            <a:extLst>
              <a:ext uri="{FF2B5EF4-FFF2-40B4-BE49-F238E27FC236}">
                <a16:creationId xmlns:a16="http://schemas.microsoft.com/office/drawing/2014/main" id="{63CD2A05-17F7-E23B-A669-CD44A0C58078}"/>
              </a:ext>
            </a:extLst>
          </p:cNvPr>
          <p:cNvSpPr/>
          <p:nvPr/>
        </p:nvSpPr>
        <p:spPr>
          <a:xfrm>
            <a:off x="1347033" y="3015866"/>
            <a:ext cx="3301174" cy="4665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" name="Rektangel 38">
            <a:extLst>
              <a:ext uri="{FF2B5EF4-FFF2-40B4-BE49-F238E27FC236}">
                <a16:creationId xmlns:a16="http://schemas.microsoft.com/office/drawing/2014/main" id="{71B69A71-7046-CE74-78B3-A0DEAB85C1C6}"/>
              </a:ext>
            </a:extLst>
          </p:cNvPr>
          <p:cNvSpPr/>
          <p:nvPr/>
        </p:nvSpPr>
        <p:spPr>
          <a:xfrm rot="16200000">
            <a:off x="284523" y="3209358"/>
            <a:ext cx="1026374" cy="35145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mråde</a:t>
            </a:r>
          </a:p>
        </p:txBody>
      </p:sp>
      <p:sp>
        <p:nvSpPr>
          <p:cNvPr id="40" name="Pil: femhörning 39">
            <a:extLst>
              <a:ext uri="{FF2B5EF4-FFF2-40B4-BE49-F238E27FC236}">
                <a16:creationId xmlns:a16="http://schemas.microsoft.com/office/drawing/2014/main" id="{573CA051-BB1D-2F5F-95E7-3F0E787C0032}"/>
              </a:ext>
            </a:extLst>
          </p:cNvPr>
          <p:cNvSpPr/>
          <p:nvPr/>
        </p:nvSpPr>
        <p:spPr>
          <a:xfrm>
            <a:off x="418395" y="4621081"/>
            <a:ext cx="11216931" cy="1279064"/>
          </a:xfrm>
          <a:prstGeom prst="homePlate">
            <a:avLst/>
          </a:prstGeom>
          <a:solidFill>
            <a:srgbClr val="FBFC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" name="Rektangel 40">
            <a:extLst>
              <a:ext uri="{FF2B5EF4-FFF2-40B4-BE49-F238E27FC236}">
                <a16:creationId xmlns:a16="http://schemas.microsoft.com/office/drawing/2014/main" id="{4846CA59-285C-2B41-6B05-F1BDBF121BD0}"/>
              </a:ext>
            </a:extLst>
          </p:cNvPr>
          <p:cNvSpPr/>
          <p:nvPr/>
        </p:nvSpPr>
        <p:spPr>
          <a:xfrm rot="16200000">
            <a:off x="284523" y="5140295"/>
            <a:ext cx="1026374" cy="35145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Klinik</a:t>
            </a:r>
          </a:p>
        </p:txBody>
      </p:sp>
      <p:pic>
        <p:nvPicPr>
          <p:cNvPr id="42" name="Bildobjekt 41">
            <a:extLst>
              <a:ext uri="{FF2B5EF4-FFF2-40B4-BE49-F238E27FC236}">
                <a16:creationId xmlns:a16="http://schemas.microsoft.com/office/drawing/2014/main" id="{5D15BB32-9693-5CB5-3B7C-FA463B34F4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08811" y="2656274"/>
            <a:ext cx="1043972" cy="1499194"/>
          </a:xfrm>
          <a:prstGeom prst="rect">
            <a:avLst/>
          </a:prstGeom>
        </p:spPr>
      </p:pic>
      <p:sp>
        <p:nvSpPr>
          <p:cNvPr id="45" name="textruta 44">
            <a:extLst>
              <a:ext uri="{FF2B5EF4-FFF2-40B4-BE49-F238E27FC236}">
                <a16:creationId xmlns:a16="http://schemas.microsoft.com/office/drawing/2014/main" id="{789CC9E4-638B-71C6-9CF7-D383D6165039}"/>
              </a:ext>
            </a:extLst>
          </p:cNvPr>
          <p:cNvSpPr txBox="1"/>
          <p:nvPr/>
        </p:nvSpPr>
        <p:spPr>
          <a:xfrm>
            <a:off x="7625366" y="943161"/>
            <a:ext cx="369531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- Uppfylla kriterier för antibiotikasmart regionledning och antibiotikasmarta sjukhus</a:t>
            </a:r>
          </a:p>
        </p:txBody>
      </p:sp>
      <p:sp>
        <p:nvSpPr>
          <p:cNvPr id="47" name="textruta 46">
            <a:extLst>
              <a:ext uri="{FF2B5EF4-FFF2-40B4-BE49-F238E27FC236}">
                <a16:creationId xmlns:a16="http://schemas.microsoft.com/office/drawing/2014/main" id="{3588695E-7A71-0A31-B2FD-0B394BBF7DF9}"/>
              </a:ext>
            </a:extLst>
          </p:cNvPr>
          <p:cNvSpPr txBox="1"/>
          <p:nvPr/>
        </p:nvSpPr>
        <p:spPr>
          <a:xfrm>
            <a:off x="7625366" y="4769508"/>
            <a:ext cx="3986879" cy="132343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- Implementering av 10-pp i praktik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- Kriterier för antibiotikasmarta klinik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- Mått och mål på verksamhetsnivå, </a:t>
            </a:r>
            <a:r>
              <a:rPr kumimoji="0" lang="sv-S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ratsys</a:t>
            </a:r>
            <a:endParaRPr kumimoji="0" lang="sv-S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" name="textruta 47">
            <a:extLst>
              <a:ext uri="{FF2B5EF4-FFF2-40B4-BE49-F238E27FC236}">
                <a16:creationId xmlns:a16="http://schemas.microsoft.com/office/drawing/2014/main" id="{ECFF9F80-98D9-DC6F-9538-C9CEA459D53D}"/>
              </a:ext>
            </a:extLst>
          </p:cNvPr>
          <p:cNvSpPr txBox="1"/>
          <p:nvPr/>
        </p:nvSpPr>
        <p:spPr>
          <a:xfrm>
            <a:off x="7760509" y="2973604"/>
            <a:ext cx="288253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- Stötta implementering av 10-pp i praktiken och kriterier på </a:t>
            </a:r>
            <a:r>
              <a:rPr lang="sv-SE" sz="1600">
                <a:solidFill>
                  <a:prstClr val="black"/>
                </a:solidFill>
                <a:latin typeface="Aptos" panose="02110004020202020204"/>
              </a:rPr>
              <a:t>verksamhetsnivå</a:t>
            </a: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ktangel 48">
            <a:extLst>
              <a:ext uri="{FF2B5EF4-FFF2-40B4-BE49-F238E27FC236}">
                <a16:creationId xmlns:a16="http://schemas.microsoft.com/office/drawing/2014/main" id="{7686C3D7-1D5E-58AF-CD3A-3351F35B8C6D}"/>
              </a:ext>
            </a:extLst>
          </p:cNvPr>
          <p:cNvSpPr/>
          <p:nvPr/>
        </p:nvSpPr>
        <p:spPr>
          <a:xfrm>
            <a:off x="1347033" y="3820600"/>
            <a:ext cx="3301174" cy="4665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3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ler områden kopplas på successivt  </a:t>
            </a:r>
          </a:p>
        </p:txBody>
      </p:sp>
      <p:sp>
        <p:nvSpPr>
          <p:cNvPr id="50" name="textruta 49">
            <a:extLst>
              <a:ext uri="{FF2B5EF4-FFF2-40B4-BE49-F238E27FC236}">
                <a16:creationId xmlns:a16="http://schemas.microsoft.com/office/drawing/2014/main" id="{26970096-80A5-ED3E-2964-E551562E6C06}"/>
              </a:ext>
            </a:extLst>
          </p:cNvPr>
          <p:cNvSpPr txBox="1"/>
          <p:nvPr/>
        </p:nvSpPr>
        <p:spPr>
          <a:xfrm>
            <a:off x="1348457" y="4969613"/>
            <a:ext cx="33542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Kliniker/avdelningar/mottagningar</a:t>
            </a:r>
          </a:p>
        </p:txBody>
      </p:sp>
      <p:sp>
        <p:nvSpPr>
          <p:cNvPr id="51" name="Rektangel 50">
            <a:extLst>
              <a:ext uri="{FF2B5EF4-FFF2-40B4-BE49-F238E27FC236}">
                <a16:creationId xmlns:a16="http://schemas.microsoft.com/office/drawing/2014/main" id="{4C406846-AB75-DB08-5516-9ED4E88F56A4}"/>
              </a:ext>
            </a:extLst>
          </p:cNvPr>
          <p:cNvSpPr/>
          <p:nvPr/>
        </p:nvSpPr>
        <p:spPr>
          <a:xfrm>
            <a:off x="7682132" y="40537"/>
            <a:ext cx="3976652" cy="4665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ktiviteter</a:t>
            </a:r>
          </a:p>
        </p:txBody>
      </p:sp>
      <p:sp>
        <p:nvSpPr>
          <p:cNvPr id="52" name="Rektangel 51">
            <a:extLst>
              <a:ext uri="{FF2B5EF4-FFF2-40B4-BE49-F238E27FC236}">
                <a16:creationId xmlns:a16="http://schemas.microsoft.com/office/drawing/2014/main" id="{1A42F88E-A388-8B79-9959-DA929FAB40D4}"/>
              </a:ext>
            </a:extLst>
          </p:cNvPr>
          <p:cNvSpPr/>
          <p:nvPr/>
        </p:nvSpPr>
        <p:spPr>
          <a:xfrm>
            <a:off x="1045796" y="70956"/>
            <a:ext cx="6182176" cy="4665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rupperingar Antibiotikasmarta sjukhus Värmland</a:t>
            </a: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AA171F47-F4FF-34B9-1BE2-1A53EF2F34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5344" y="4521048"/>
            <a:ext cx="1007439" cy="1446731"/>
          </a:xfrm>
          <a:prstGeom prst="rect">
            <a:avLst/>
          </a:prstGeom>
        </p:spPr>
      </p:pic>
      <p:sp>
        <p:nvSpPr>
          <p:cNvPr id="2" name="textruta 1">
            <a:extLst>
              <a:ext uri="{FF2B5EF4-FFF2-40B4-BE49-F238E27FC236}">
                <a16:creationId xmlns:a16="http://schemas.microsoft.com/office/drawing/2014/main" id="{A784E811-FCB3-9812-3707-DED9AA657612}"/>
              </a:ext>
            </a:extLst>
          </p:cNvPr>
          <p:cNvSpPr txBox="1"/>
          <p:nvPr/>
        </p:nvSpPr>
        <p:spPr>
          <a:xfrm>
            <a:off x="743815" y="6374726"/>
            <a:ext cx="5183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 i="1" dirty="0"/>
              <a:t>Tack till Region Sörmland för inspiration</a:t>
            </a:r>
          </a:p>
        </p:txBody>
      </p:sp>
    </p:spTree>
    <p:extLst>
      <p:ext uri="{BB962C8B-B14F-4D97-AF65-F5344CB8AC3E}">
        <p14:creationId xmlns:p14="http://schemas.microsoft.com/office/powerpoint/2010/main" val="2880909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9C9FA4-B352-45F4-F1FC-B89849BC02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D356DE3-1694-CFE9-873D-4849A30DD2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D356DE3-1694-CFE9-873D-4849A30DD2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ubrik 4">
            <a:extLst>
              <a:ext uri="{FF2B5EF4-FFF2-40B4-BE49-F238E27FC236}">
                <a16:creationId xmlns:a16="http://schemas.microsoft.com/office/drawing/2014/main" id="{97E886B1-69DE-DCDA-18D7-8614CFCEDC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55714" y="193040"/>
            <a:ext cx="7200000" cy="1325563"/>
          </a:xfrm>
        </p:spPr>
        <p:txBody>
          <a:bodyPr vert="horz">
            <a:normAutofit/>
          </a:bodyPr>
          <a:lstStyle/>
          <a:p>
            <a:r>
              <a:rPr lang="sv-SE" dirty="0"/>
              <a:t>Strategi</a:t>
            </a:r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C30AA0F3-3489-7A3B-C78A-D418DBA8707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7609" y="1681956"/>
            <a:ext cx="7200000" cy="4671219"/>
          </a:xfrm>
        </p:spPr>
        <p:txBody>
          <a:bodyPr/>
          <a:lstStyle/>
          <a:p>
            <a:pPr marL="0" indent="0">
              <a:buNone/>
            </a:pPr>
            <a:r>
              <a:rPr lang="sv-SE" sz="1800" b="1" dirty="0"/>
              <a:t>1. </a:t>
            </a:r>
            <a:r>
              <a:rPr lang="sv-SE" sz="1800" b="1" dirty="0" err="1"/>
              <a:t>Base-line</a:t>
            </a:r>
            <a:r>
              <a:rPr lang="sv-SE" sz="1800" b="1" dirty="0"/>
              <a:t> enkät </a:t>
            </a:r>
          </a:p>
          <a:p>
            <a:pPr lvl="1"/>
            <a:r>
              <a:rPr lang="sv-SE" sz="1600" dirty="0"/>
              <a:t>Genomförd utifrån kriterierna</a:t>
            </a:r>
          </a:p>
          <a:p>
            <a:pPr marL="0" indent="0">
              <a:buNone/>
            </a:pPr>
            <a:r>
              <a:rPr lang="sv-SE" sz="1800" b="1" dirty="0"/>
              <a:t>2. Fortlöpande kommunikationsplan   </a:t>
            </a:r>
          </a:p>
          <a:p>
            <a:pPr marL="0" indent="0">
              <a:buNone/>
            </a:pPr>
            <a:r>
              <a:rPr lang="sv-SE" sz="1800" b="1" dirty="0"/>
              <a:t>3. GAP- analys </a:t>
            </a:r>
          </a:p>
          <a:p>
            <a:pPr lvl="1"/>
            <a:r>
              <a:rPr lang="sv-SE" sz="1600" dirty="0"/>
              <a:t>Genomförd utifrån kriterierna för antibiotikasmart sjukhus och 10-punktsprogrammet </a:t>
            </a:r>
          </a:p>
          <a:p>
            <a:pPr lvl="1"/>
            <a:r>
              <a:rPr lang="sv-SE" sz="1600" dirty="0"/>
              <a:t>Aktuellt status bedömt utifrån: kriterier uppfyllda, delvist uppfyllda, ej uppfyllda</a:t>
            </a:r>
          </a:p>
          <a:p>
            <a:pPr marL="342900" indent="-342900">
              <a:buFont typeface="+mj-lt"/>
              <a:buAutoNum type="arabicPeriod" startAt="4"/>
            </a:pPr>
            <a:r>
              <a:rPr lang="sv-SE" sz="1800" b="1" dirty="0"/>
              <a:t>Områden kopplas in fortlöpande</a:t>
            </a:r>
          </a:p>
          <a:p>
            <a:pPr marL="342900" indent="-342900">
              <a:buFont typeface="+mj-lt"/>
              <a:buAutoNum type="arabicPeriod" startAt="4"/>
            </a:pPr>
            <a:r>
              <a:rPr lang="sv-SE" sz="1800" b="1" dirty="0"/>
              <a:t> Stödkriterier för verksamheterna</a:t>
            </a:r>
          </a:p>
          <a:p>
            <a:pPr lvl="1"/>
            <a:r>
              <a:rPr lang="sv-SE" sz="1800" dirty="0"/>
              <a:t>Stödkriterier för verksamheten tas fram </a:t>
            </a:r>
          </a:p>
          <a:p>
            <a:pPr marL="457200" indent="-457200">
              <a:buFont typeface="+mj-lt"/>
              <a:buAutoNum type="arabicPeriod" startAt="6"/>
            </a:pPr>
            <a:r>
              <a:rPr lang="sv-SE" sz="2000" b="1" dirty="0"/>
              <a:t>Koppla på konkreta aktiviteter samt  relevanta mått och mål </a:t>
            </a:r>
          </a:p>
          <a:p>
            <a:endParaRPr lang="sv-SE" sz="1400" dirty="0"/>
          </a:p>
          <a:p>
            <a:pPr lvl="1"/>
            <a:endParaRPr lang="sv-SE" sz="1200" dirty="0"/>
          </a:p>
          <a:p>
            <a:pPr marL="0" indent="0">
              <a:buNone/>
            </a:pPr>
            <a:endParaRPr lang="sv-SE" sz="1200" dirty="0"/>
          </a:p>
          <a:p>
            <a:endParaRPr lang="sv-SE" sz="1200" dirty="0"/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ACEB0EBC-CE9B-1930-EBBD-35DD664F82B1}"/>
              </a:ext>
            </a:extLst>
          </p:cNvPr>
          <p:cNvSpPr txBox="1"/>
          <p:nvPr/>
        </p:nvSpPr>
        <p:spPr>
          <a:xfrm>
            <a:off x="1619305" y="6362639"/>
            <a:ext cx="5183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 i="1" dirty="0"/>
              <a:t>Tack till </a:t>
            </a:r>
            <a:r>
              <a:rPr lang="sv-SE" sz="1400" i="1" dirty="0" err="1"/>
              <a:t>St</a:t>
            </a:r>
            <a:r>
              <a:rPr lang="sv-SE" sz="1400" i="1" dirty="0"/>
              <a:t> Görans sjukhus för inspiration 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402E6FBF-AAE5-B6BD-E083-117F60A3C36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66481" y="724299"/>
            <a:ext cx="3995382" cy="227671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117893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C80A3B-92B4-72CD-B307-E5FF8419EA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B0F7D759-3265-F82B-CDC1-93EF43BA52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947" y="175869"/>
            <a:ext cx="7200000" cy="1325563"/>
          </a:xfrm>
        </p:spPr>
        <p:txBody>
          <a:bodyPr/>
          <a:lstStyle/>
          <a:p>
            <a:r>
              <a:rPr lang="sv-SE" dirty="0"/>
              <a:t>Kommunikationens roll i ett Antibiotikasmart Värmland</a:t>
            </a:r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EF2FC441-CDC3-D71F-3FEB-E9D1B6216F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3816" y="1816148"/>
            <a:ext cx="4683646" cy="4301188"/>
          </a:xfrm>
          <a:prstGeom prst="rect">
            <a:avLst/>
          </a:prstGeom>
        </p:spPr>
      </p:pic>
      <p:pic>
        <p:nvPicPr>
          <p:cNvPr id="8" name="Bildobjekt 7">
            <a:extLst>
              <a:ext uri="{FF2B5EF4-FFF2-40B4-BE49-F238E27FC236}">
                <a16:creationId xmlns:a16="http://schemas.microsoft.com/office/drawing/2014/main" id="{700CF81C-A7D8-DC3D-45CA-B1E3BB2954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53054" y="483244"/>
            <a:ext cx="4165804" cy="4004339"/>
          </a:xfrm>
          <a:prstGeom prst="rect">
            <a:avLst/>
          </a:prstGeom>
        </p:spPr>
      </p:pic>
      <p:pic>
        <p:nvPicPr>
          <p:cNvPr id="11" name="Bildobjekt 10" descr="En bild som visar text, Publikation, nyhetstidning, inomhus&#10;&#10;AI-genererat innehåll kan vara felaktigt.">
            <a:extLst>
              <a:ext uri="{FF2B5EF4-FFF2-40B4-BE49-F238E27FC236}">
                <a16:creationId xmlns:a16="http://schemas.microsoft.com/office/drawing/2014/main" id="{7E93DC18-95BE-58BF-3D40-CF42846D756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0096" y="3154679"/>
            <a:ext cx="4695860" cy="3521895"/>
          </a:xfrm>
          <a:prstGeom prst="rect">
            <a:avLst/>
          </a:prstGeom>
        </p:spPr>
      </p:pic>
      <p:pic>
        <p:nvPicPr>
          <p:cNvPr id="13" name="Bildobjekt 12">
            <a:extLst>
              <a:ext uri="{FF2B5EF4-FFF2-40B4-BE49-F238E27FC236}">
                <a16:creationId xmlns:a16="http://schemas.microsoft.com/office/drawing/2014/main" id="{4409362E-6B68-294F-3F98-57EE140E52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69139" y="1402373"/>
            <a:ext cx="1526862" cy="2166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4563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ubrik 12">
            <a:extLst>
              <a:ext uri="{FF2B5EF4-FFF2-40B4-BE49-F238E27FC236}">
                <a16:creationId xmlns:a16="http://schemas.microsoft.com/office/drawing/2014/main" id="{DC741931-0D2F-FD53-69F4-3267AEE441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93558" y="0"/>
            <a:ext cx="9487210" cy="1325563"/>
          </a:xfrm>
        </p:spPr>
        <p:txBody>
          <a:bodyPr/>
          <a:lstStyle/>
          <a:p>
            <a:r>
              <a:rPr lang="sv-SE" dirty="0"/>
              <a:t>På en antibiotikasmart klinik i Värmland</a:t>
            </a:r>
          </a:p>
        </p:txBody>
      </p:sp>
      <p:sp>
        <p:nvSpPr>
          <p:cNvPr id="15" name="textruta 14">
            <a:extLst>
              <a:ext uri="{FF2B5EF4-FFF2-40B4-BE49-F238E27FC236}">
                <a16:creationId xmlns:a16="http://schemas.microsoft.com/office/drawing/2014/main" id="{11E013DD-6DDD-2BBC-6645-0C8E746B39BE}"/>
              </a:ext>
            </a:extLst>
          </p:cNvPr>
          <p:cNvSpPr txBox="1"/>
          <p:nvPr/>
        </p:nvSpPr>
        <p:spPr>
          <a:xfrm>
            <a:off x="2258583" y="6359898"/>
            <a:ext cx="5183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 i="1" dirty="0"/>
              <a:t>Tack till Region Jönköping och Region Örebro för inspiration</a:t>
            </a:r>
          </a:p>
        </p:txBody>
      </p:sp>
      <p:pic>
        <p:nvPicPr>
          <p:cNvPr id="2" name="Bildobjekt 1" descr="En bild som visar text, skärmbild, Teckensnitt, logotyp&#10;&#10;AI-genererat innehåll kan vara felaktigt.">
            <a:extLst>
              <a:ext uri="{FF2B5EF4-FFF2-40B4-BE49-F238E27FC236}">
                <a16:creationId xmlns:a16="http://schemas.microsoft.com/office/drawing/2014/main" id="{0EEF78D4-F3BE-C4B6-5E4B-CEDF495C14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8805" y="1329069"/>
            <a:ext cx="1997996" cy="2844210"/>
          </a:xfrm>
          <a:prstGeom prst="rect">
            <a:avLst/>
          </a:prstGeom>
        </p:spPr>
      </p:pic>
      <p:pic>
        <p:nvPicPr>
          <p:cNvPr id="3" name="Bildobjekt 2" descr="En bild som visar text, skärmbild, Teckensnitt, design&#10;&#10;AI-genererat innehåll kan vara felaktigt.">
            <a:extLst>
              <a:ext uri="{FF2B5EF4-FFF2-40B4-BE49-F238E27FC236}">
                <a16:creationId xmlns:a16="http://schemas.microsoft.com/office/drawing/2014/main" id="{A417A334-AC93-9A8B-88E6-FFEEB3A067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10404" y="1328959"/>
            <a:ext cx="3249797" cy="4855755"/>
          </a:xfrm>
          <a:prstGeom prst="rect">
            <a:avLst/>
          </a:prstGeom>
        </p:spPr>
      </p:pic>
      <p:pic>
        <p:nvPicPr>
          <p:cNvPr id="5" name="Bildobjekt 4" descr="En bild som visar text, skärmbild, Teckensnitt, design&#10;&#10;AI-genererat innehåll kan vara felaktigt.">
            <a:extLst>
              <a:ext uri="{FF2B5EF4-FFF2-40B4-BE49-F238E27FC236}">
                <a16:creationId xmlns:a16="http://schemas.microsoft.com/office/drawing/2014/main" id="{8C278B11-8B01-C213-130D-D818D31F33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32407" y="1196161"/>
            <a:ext cx="3446072" cy="4988444"/>
          </a:xfrm>
          <a:prstGeom prst="rect">
            <a:avLst/>
          </a:prstGeom>
        </p:spPr>
      </p:pic>
      <p:pic>
        <p:nvPicPr>
          <p:cNvPr id="6" name="Bildobjekt 5" descr="En bild som visar text, skärmbild, Teckensnitt, design&#10;&#10;AI-genererat innehåll kan vara felaktigt.">
            <a:extLst>
              <a:ext uri="{FF2B5EF4-FFF2-40B4-BE49-F238E27FC236}">
                <a16:creationId xmlns:a16="http://schemas.microsoft.com/office/drawing/2014/main" id="{94EB4DD6-C1E5-3423-2712-A3D1F51E106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37329" y="1196162"/>
            <a:ext cx="2772739" cy="3916326"/>
          </a:xfrm>
          <a:prstGeom prst="rect">
            <a:avLst/>
          </a:prstGeom>
        </p:spPr>
      </p:pic>
      <p:pic>
        <p:nvPicPr>
          <p:cNvPr id="7" name="Bildobjekt 6" descr="En bild som visar Grafik, Teckensnitt, grafisk design, logotyp&#10;&#10;AI-genererat innehåll kan vara felaktigt.">
            <a:extLst>
              <a:ext uri="{FF2B5EF4-FFF2-40B4-BE49-F238E27FC236}">
                <a16:creationId xmlns:a16="http://schemas.microsoft.com/office/drawing/2014/main" id="{643D2F6C-5313-D27E-D2D3-726343CE1F1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176038" y="4515292"/>
            <a:ext cx="507928" cy="202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4556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79266D2-F178-DFCF-6793-DF88C62834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1899" y="-46910"/>
            <a:ext cx="1914400" cy="1325563"/>
          </a:xfrm>
        </p:spPr>
        <p:txBody>
          <a:bodyPr/>
          <a:lstStyle/>
          <a:p>
            <a:r>
              <a:rPr lang="sv-SE" dirty="0"/>
              <a:t>2025</a:t>
            </a:r>
          </a:p>
        </p:txBody>
      </p:sp>
      <p:pic>
        <p:nvPicPr>
          <p:cNvPr id="4" name="Bild 1">
            <a:extLst>
              <a:ext uri="{FF2B5EF4-FFF2-40B4-BE49-F238E27FC236}">
                <a16:creationId xmlns:a16="http://schemas.microsoft.com/office/drawing/2014/main" id="{C9FF3AC0-D5DB-C8D5-E146-B137C33AB92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689" y="1514346"/>
            <a:ext cx="3356654" cy="251749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textruta 6">
            <a:extLst>
              <a:ext uri="{FF2B5EF4-FFF2-40B4-BE49-F238E27FC236}">
                <a16:creationId xmlns:a16="http://schemas.microsoft.com/office/drawing/2014/main" id="{9EC13184-7A93-CD08-DD18-BD972FF32A63}"/>
              </a:ext>
            </a:extLst>
          </p:cNvPr>
          <p:cNvSpPr txBox="1"/>
          <p:nvPr/>
        </p:nvSpPr>
        <p:spPr>
          <a:xfrm>
            <a:off x="951862" y="4084908"/>
            <a:ext cx="2743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/>
              <a:t>Workshops för chefer</a:t>
            </a:r>
          </a:p>
        </p:txBody>
      </p:sp>
      <p:sp>
        <p:nvSpPr>
          <p:cNvPr id="8" name="textruta 7">
            <a:extLst>
              <a:ext uri="{FF2B5EF4-FFF2-40B4-BE49-F238E27FC236}">
                <a16:creationId xmlns:a16="http://schemas.microsoft.com/office/drawing/2014/main" id="{13F08D84-BA75-3A3B-57A7-0341E23BD8F5}"/>
              </a:ext>
            </a:extLst>
          </p:cNvPr>
          <p:cNvSpPr txBox="1"/>
          <p:nvPr/>
        </p:nvSpPr>
        <p:spPr>
          <a:xfrm>
            <a:off x="7549923" y="381032"/>
            <a:ext cx="23971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/>
              <a:t>Föreläsningsserie för alla verksamheter </a:t>
            </a:r>
          </a:p>
        </p:txBody>
      </p:sp>
      <p:pic>
        <p:nvPicPr>
          <p:cNvPr id="9" name="Bildobjekt 8" descr="En bild som visar text, skärmbild, Teckensnitt, design&#10;&#10;Automatiskt genererad beskrivning">
            <a:hlinkClick r:id="rId3"/>
            <a:extLst>
              <a:ext uri="{FF2B5EF4-FFF2-40B4-BE49-F238E27FC236}">
                <a16:creationId xmlns:a16="http://schemas.microsoft.com/office/drawing/2014/main" id="{5B612336-B447-4C6A-5BF1-FDB0DD2DDF1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47086" y="417069"/>
            <a:ext cx="1900282" cy="2724419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textruta 9">
            <a:extLst>
              <a:ext uri="{FF2B5EF4-FFF2-40B4-BE49-F238E27FC236}">
                <a16:creationId xmlns:a16="http://schemas.microsoft.com/office/drawing/2014/main" id="{A9AB59F1-29EA-C615-BEB5-4DB97E4CC1F8}"/>
              </a:ext>
            </a:extLst>
          </p:cNvPr>
          <p:cNvSpPr txBox="1"/>
          <p:nvPr/>
        </p:nvSpPr>
        <p:spPr>
          <a:xfrm>
            <a:off x="5577524" y="4269574"/>
            <a:ext cx="254907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/>
              <a:t>Workshop om städningens betydelse för ett antibiotikasmart sjukhus</a:t>
            </a:r>
          </a:p>
        </p:txBody>
      </p:sp>
      <p:sp>
        <p:nvSpPr>
          <p:cNvPr id="12" name="textruta 11">
            <a:extLst>
              <a:ext uri="{FF2B5EF4-FFF2-40B4-BE49-F238E27FC236}">
                <a16:creationId xmlns:a16="http://schemas.microsoft.com/office/drawing/2014/main" id="{8E20F102-93E8-FEFF-EFC2-2F50D6FE0052}"/>
              </a:ext>
            </a:extLst>
          </p:cNvPr>
          <p:cNvSpPr txBox="1"/>
          <p:nvPr/>
        </p:nvSpPr>
        <p:spPr>
          <a:xfrm>
            <a:off x="866891" y="5090646"/>
            <a:ext cx="3356654" cy="92333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sv-SE" dirty="0"/>
              <a:t>Hälso- och sjukvårdsledningen</a:t>
            </a:r>
          </a:p>
          <a:p>
            <a:r>
              <a:rPr lang="sv-SE" dirty="0"/>
              <a:t>Patientnämnden</a:t>
            </a:r>
          </a:p>
          <a:p>
            <a:r>
              <a:rPr lang="sv-SE" dirty="0"/>
              <a:t>Beredskapsgruppen</a:t>
            </a:r>
          </a:p>
        </p:txBody>
      </p:sp>
      <p:pic>
        <p:nvPicPr>
          <p:cNvPr id="15" name="Bildobjekt 14">
            <a:extLst>
              <a:ext uri="{FF2B5EF4-FFF2-40B4-BE49-F238E27FC236}">
                <a16:creationId xmlns:a16="http://schemas.microsoft.com/office/drawing/2014/main" id="{BE6074E0-1034-20E3-8DEE-F5188529EAD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38783" y="3993273"/>
            <a:ext cx="2462183" cy="1642691"/>
          </a:xfrm>
          <a:prstGeom prst="rect">
            <a:avLst/>
          </a:prstGeom>
        </p:spPr>
      </p:pic>
      <p:sp>
        <p:nvSpPr>
          <p:cNvPr id="17" name="textruta 16">
            <a:extLst>
              <a:ext uri="{FF2B5EF4-FFF2-40B4-BE49-F238E27FC236}">
                <a16:creationId xmlns:a16="http://schemas.microsoft.com/office/drawing/2014/main" id="{6F974FFB-F6D1-4D79-65E8-14B34233F382}"/>
              </a:ext>
            </a:extLst>
          </p:cNvPr>
          <p:cNvSpPr txBox="1"/>
          <p:nvPr/>
        </p:nvSpPr>
        <p:spPr>
          <a:xfrm>
            <a:off x="9229313" y="5632017"/>
            <a:ext cx="2971656" cy="43088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sv-SE" sz="1100" i="1" dirty="0"/>
              <a:t>Tack till Region Östergötland och </a:t>
            </a:r>
            <a:r>
              <a:rPr lang="sv-SE" sz="1100" i="1"/>
              <a:t>Västerbotten för inspiration</a:t>
            </a:r>
            <a:endParaRPr lang="sv-SE"/>
          </a:p>
        </p:txBody>
      </p:sp>
      <p:sp>
        <p:nvSpPr>
          <p:cNvPr id="18" name="textruta 17">
            <a:extLst>
              <a:ext uri="{FF2B5EF4-FFF2-40B4-BE49-F238E27FC236}">
                <a16:creationId xmlns:a16="http://schemas.microsoft.com/office/drawing/2014/main" id="{F7CF34B8-B7B6-C9AD-5161-B2CE07575166}"/>
              </a:ext>
            </a:extLst>
          </p:cNvPr>
          <p:cNvSpPr txBox="1"/>
          <p:nvPr/>
        </p:nvSpPr>
        <p:spPr>
          <a:xfrm>
            <a:off x="9229313" y="3576836"/>
            <a:ext cx="32765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/>
              <a:t>Dataanalys </a:t>
            </a:r>
            <a:r>
              <a:rPr lang="sv-SE" dirty="0">
                <a:sym typeface="Wingdings" panose="05000000000000000000" pitchFamily="2" charset="2"/>
              </a:rPr>
              <a:t> dashboard?</a:t>
            </a:r>
            <a:endParaRPr lang="sv-SE" dirty="0"/>
          </a:p>
        </p:txBody>
      </p:sp>
      <p:pic>
        <p:nvPicPr>
          <p:cNvPr id="19" name="Platshållare för innehåll 3">
            <a:hlinkClick r:id="rId6"/>
            <a:extLst>
              <a:ext uri="{FF2B5EF4-FFF2-40B4-BE49-F238E27FC236}">
                <a16:creationId xmlns:a16="http://schemas.microsoft.com/office/drawing/2014/main" id="{6C248BE0-D1C6-EE19-F1A8-8300ABE528BA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33937" t="39608"/>
          <a:stretch/>
        </p:blipFill>
        <p:spPr>
          <a:xfrm>
            <a:off x="5132828" y="267642"/>
            <a:ext cx="1914400" cy="1805144"/>
          </a:xfrm>
          <a:prstGeom prst="rect">
            <a:avLst/>
          </a:prstGeom>
        </p:spPr>
      </p:pic>
      <p:sp>
        <p:nvSpPr>
          <p:cNvPr id="21" name="textruta 20">
            <a:extLst>
              <a:ext uri="{FF2B5EF4-FFF2-40B4-BE49-F238E27FC236}">
                <a16:creationId xmlns:a16="http://schemas.microsoft.com/office/drawing/2014/main" id="{E837C93B-1C66-D015-334F-E6C4256140E5}"/>
              </a:ext>
            </a:extLst>
          </p:cNvPr>
          <p:cNvSpPr txBox="1"/>
          <p:nvPr/>
        </p:nvSpPr>
        <p:spPr>
          <a:xfrm>
            <a:off x="4991418" y="2072786"/>
            <a:ext cx="344937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/>
              <a:t>Tips och stöd på Strama Värmlands hemsida</a:t>
            </a:r>
          </a:p>
        </p:txBody>
      </p:sp>
    </p:spTree>
    <p:extLst>
      <p:ext uri="{BB962C8B-B14F-4D97-AF65-F5344CB8AC3E}">
        <p14:creationId xmlns:p14="http://schemas.microsoft.com/office/powerpoint/2010/main" val="33132085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CEE49EF-A5A5-8DE2-98A9-34788D5FD6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3496" y="972000"/>
            <a:ext cx="9671252" cy="1325563"/>
          </a:xfrm>
        </p:spPr>
        <p:txBody>
          <a:bodyPr/>
          <a:lstStyle/>
          <a:p>
            <a:r>
              <a:rPr lang="sv-SE" sz="3200" dirty="0"/>
              <a:t>Inspirationsmaterial – patientinvolvering PVK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39C9163A-641D-25CB-92FC-34FDF88D0B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638800" y="2646000"/>
            <a:ext cx="5348233" cy="3240000"/>
          </a:xfrm>
        </p:spPr>
        <p:txBody>
          <a:bodyPr/>
          <a:lstStyle/>
          <a:p>
            <a:r>
              <a:rPr lang="sv-SE" dirty="0"/>
              <a:t>Information till patient under vårdtiden i form av inplastat kort 15x20 cm </a:t>
            </a:r>
          </a:p>
        </p:txBody>
      </p:sp>
      <p:pic>
        <p:nvPicPr>
          <p:cNvPr id="5" name="Bild 1">
            <a:extLst>
              <a:ext uri="{FF2B5EF4-FFF2-40B4-BE49-F238E27FC236}">
                <a16:creationId xmlns:a16="http://schemas.microsoft.com/office/drawing/2014/main" id="{BFBB9932-5C62-1D6E-1132-32CCFC300BD0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3636" y="2582625"/>
            <a:ext cx="2749167" cy="366555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689220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7068FC0-F79C-2F54-7DD9-48D331B345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7517" y="264634"/>
            <a:ext cx="9082573" cy="1325563"/>
          </a:xfrm>
        </p:spPr>
        <p:txBody>
          <a:bodyPr/>
          <a:lstStyle/>
          <a:p>
            <a:r>
              <a:rPr lang="sv-SE" dirty="0"/>
              <a:t>Antibiotikarond - informationsplansch </a:t>
            </a: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C7CEA972-44B4-1794-AE82-38D912B46D8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1142"/>
          <a:stretch>
            <a:fillRect/>
          </a:stretch>
        </p:blipFill>
        <p:spPr>
          <a:xfrm>
            <a:off x="2587588" y="1736518"/>
            <a:ext cx="6223037" cy="465771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7730078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gion Varmland">
  <a:themeElements>
    <a:clrScheme name="Region Varmland farger">
      <a:dk1>
        <a:srgbClr val="000000"/>
      </a:dk1>
      <a:lt1>
        <a:srgbClr val="FFFFFF"/>
      </a:lt1>
      <a:dk2>
        <a:srgbClr val="6F6E68"/>
      </a:dk2>
      <a:lt2>
        <a:srgbClr val="E7E6E6"/>
      </a:lt2>
      <a:accent1>
        <a:srgbClr val="003A70"/>
      </a:accent1>
      <a:accent2>
        <a:srgbClr val="93328E"/>
      </a:accent2>
      <a:accent3>
        <a:srgbClr val="008264"/>
      </a:accent3>
      <a:accent4>
        <a:srgbClr val="F9B000"/>
      </a:accent4>
      <a:accent5>
        <a:srgbClr val="005EB8"/>
      </a:accent5>
      <a:accent6>
        <a:srgbClr val="AA112C"/>
      </a:accent6>
      <a:hlink>
        <a:srgbClr val="003A70"/>
      </a:hlink>
      <a:folHlink>
        <a:srgbClr val="93328E"/>
      </a:folHlink>
    </a:clrScheme>
    <a:fontScheme name="Region Varmlan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owerpoint-Region Värmland" id="{D301F77F-05F8-4EAC-B0A7-77EEF84B37BE}" vid="{0349C4BF-E19F-44D1-80A2-52EBC7B72535}"/>
    </a:ext>
  </a:extLst>
</a:theme>
</file>

<file path=ppt/theme/theme2.xml><?xml version="1.0" encoding="utf-8"?>
<a:theme xmlns:a="http://schemas.openxmlformats.org/drawingml/2006/main" name="Region Varmland Grå">
  <a:themeElements>
    <a:clrScheme name="Region Varmland farger">
      <a:dk1>
        <a:srgbClr val="000000"/>
      </a:dk1>
      <a:lt1>
        <a:srgbClr val="FFFFFF"/>
      </a:lt1>
      <a:dk2>
        <a:srgbClr val="6F6E68"/>
      </a:dk2>
      <a:lt2>
        <a:srgbClr val="E7E6E6"/>
      </a:lt2>
      <a:accent1>
        <a:srgbClr val="003A70"/>
      </a:accent1>
      <a:accent2>
        <a:srgbClr val="93328E"/>
      </a:accent2>
      <a:accent3>
        <a:srgbClr val="008264"/>
      </a:accent3>
      <a:accent4>
        <a:srgbClr val="F9B000"/>
      </a:accent4>
      <a:accent5>
        <a:srgbClr val="005EB8"/>
      </a:accent5>
      <a:accent6>
        <a:srgbClr val="AA112C"/>
      </a:accent6>
      <a:hlink>
        <a:srgbClr val="003A70"/>
      </a:hlink>
      <a:folHlink>
        <a:srgbClr val="93328E"/>
      </a:folHlink>
    </a:clrScheme>
    <a:fontScheme name="Region Varmlan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owerpoint-Region Värmland" id="{D301F77F-05F8-4EAC-B0A7-77EEF84B37BE}" vid="{BA14B6D6-CCF9-4C6F-B87B-D4013CFA3824}"/>
    </a:ext>
  </a:extLst>
</a:theme>
</file>

<file path=ppt/theme/theme3.xml><?xml version="1.0" encoding="utf-8"?>
<a:theme xmlns:a="http://schemas.openxmlformats.org/drawingml/2006/main" name="Stor rubrik">
  <a:themeElements>
    <a:clrScheme name="Region Värmland-HEX">
      <a:dk1>
        <a:srgbClr val="000000"/>
      </a:dk1>
      <a:lt1>
        <a:srgbClr val="FFFFFF"/>
      </a:lt1>
      <a:dk2>
        <a:srgbClr val="6F6E68"/>
      </a:dk2>
      <a:lt2>
        <a:srgbClr val="E7E6E6"/>
      </a:lt2>
      <a:accent1>
        <a:srgbClr val="003A70"/>
      </a:accent1>
      <a:accent2>
        <a:srgbClr val="93328E"/>
      </a:accent2>
      <a:accent3>
        <a:srgbClr val="008264"/>
      </a:accent3>
      <a:accent4>
        <a:srgbClr val="F9B000"/>
      </a:accent4>
      <a:accent5>
        <a:srgbClr val="005EB8"/>
      </a:accent5>
      <a:accent6>
        <a:srgbClr val="AA112C"/>
      </a:accent6>
      <a:hlink>
        <a:srgbClr val="003A70"/>
      </a:hlink>
      <a:folHlink>
        <a:srgbClr val="93328E"/>
      </a:folHlink>
    </a:clrScheme>
    <a:fontScheme name="Region Varmlan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owerpoint-Region Värmland" id="{D301F77F-05F8-4EAC-B0A7-77EEF84B37BE}" vid="{E6EA708E-2F9B-4427-93FC-14D83DF272B5}"/>
    </a:ext>
  </a:extLst>
</a:theme>
</file>

<file path=ppt/theme/theme4.xml><?xml version="1.0" encoding="utf-8"?>
<a:theme xmlns:a="http://schemas.openxmlformats.org/drawingml/2006/main" name="Standardformgivning">
  <a:themeElements>
    <a:clrScheme name="Standardformgivning 4">
      <a:dk1>
        <a:srgbClr val="000000"/>
      </a:dk1>
      <a:lt1>
        <a:srgbClr val="FFFFFF"/>
      </a:lt1>
      <a:dk2>
        <a:srgbClr val="002D5A"/>
      </a:dk2>
      <a:lt2>
        <a:srgbClr val="FFFFFF"/>
      </a:lt2>
      <a:accent1>
        <a:srgbClr val="A79D96"/>
      </a:accent1>
      <a:accent2>
        <a:srgbClr val="00AEEF"/>
      </a:accent2>
      <a:accent3>
        <a:srgbClr val="66CFF6"/>
      </a:accent3>
      <a:accent4>
        <a:srgbClr val="B2E7FB"/>
      </a:accent4>
      <a:accent5>
        <a:srgbClr val="66819C"/>
      </a:accent5>
      <a:accent6>
        <a:srgbClr val="B2C0CD"/>
      </a:accent6>
      <a:hlink>
        <a:srgbClr val="B30538"/>
      </a:hlink>
      <a:folHlink>
        <a:srgbClr val="E20012"/>
      </a:folHlink>
    </a:clrScheme>
    <a:fontScheme name="Standardformgivning">
      <a:majorFont>
        <a:latin typeface="Verdana"/>
        <a:ea typeface="Geneva"/>
        <a:cs typeface=""/>
      </a:majorFont>
      <a:minorFont>
        <a:latin typeface="Verdana"/>
        <a:ea typeface="Geneva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3468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00AEE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sv-SE" sz="2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  <a:ea typeface="Geneva" pitchFamily="1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3468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00AEE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sv-SE" sz="2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  <a:ea typeface="Geneva" pitchFamily="1" charset="-128"/>
          </a:defRPr>
        </a:defPPr>
      </a:lstStyle>
    </a:lnDef>
  </a:objectDefaults>
  <a:extraClrSchemeLst>
    <a:extraClrScheme>
      <a:clrScheme name="Standardformgivning 1">
        <a:dk1>
          <a:srgbClr val="000000"/>
        </a:dk1>
        <a:lt1>
          <a:srgbClr val="FFFFFF"/>
        </a:lt1>
        <a:dk2>
          <a:srgbClr val="000000"/>
        </a:dk2>
        <a:lt2>
          <a:srgbClr val="BAB0B9"/>
        </a:lt2>
        <a:accent1>
          <a:srgbClr val="003468"/>
        </a:accent1>
        <a:accent2>
          <a:srgbClr val="00AEEF"/>
        </a:accent2>
        <a:accent3>
          <a:srgbClr val="FFFFFF"/>
        </a:accent3>
        <a:accent4>
          <a:srgbClr val="000000"/>
        </a:accent4>
        <a:accent5>
          <a:srgbClr val="AAAEB9"/>
        </a:accent5>
        <a:accent6>
          <a:srgbClr val="009DD9"/>
        </a:accent6>
        <a:hlink>
          <a:srgbClr val="B30538"/>
        </a:hlink>
        <a:folHlink>
          <a:srgbClr val="E200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H_HSF_vit_li_4x3_SE.potx" id="{3D0E010B-5425-4434-BD15-0514A2027EFE}" vid="{A3EE46F7-6684-42FC-B84D-CC696CC32905}"/>
    </a:ext>
  </a:extLst>
</a:theme>
</file>

<file path=ppt/theme/theme5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fda619c-f891-459a-86c0-7e00aaa13cfd" xsi:nil="true"/>
    <lcf76f155ced4ddcb4097134ff3c332f xmlns="58d3a820-0123-4d66-b4fe-26423cfd9710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37B2A405BFC404FA792E5543916DE1B" ma:contentTypeVersion="13" ma:contentTypeDescription="Create a new document." ma:contentTypeScope="" ma:versionID="b777717b5261f15d7eaa968cebf8a84f">
  <xsd:schema xmlns:xsd="http://www.w3.org/2001/XMLSchema" xmlns:xs="http://www.w3.org/2001/XMLSchema" xmlns:p="http://schemas.microsoft.com/office/2006/metadata/properties" xmlns:ns2="58d3a820-0123-4d66-b4fe-26423cfd9710" xmlns:ns3="1fda619c-f891-459a-86c0-7e00aaa13cfd" targetNamespace="http://schemas.microsoft.com/office/2006/metadata/properties" ma:root="true" ma:fieldsID="697d50a3333feda251a81aaabc78936c" ns2:_="" ns3:_="">
    <xsd:import namespace="58d3a820-0123-4d66-b4fe-26423cfd9710"/>
    <xsd:import namespace="1fda619c-f891-459a-86c0-7e00aaa13cf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d3a820-0123-4d66-b4fe-26423cfd971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256c666c-3d86-41dd-931b-6486b2d8a6b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fda619c-f891-459a-86c0-7e00aaa13cf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7" nillable="true" ma:displayName="Taxonomy Catch All Column" ma:hidden="true" ma:list="{886d69cd-e472-4347-a418-ca1eeccea2fd}" ma:internalName="TaxCatchAll" ma:showField="CatchAllData" ma:web="1fda619c-f891-459a-86c0-7e00aaa13cf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B1EB33B-74E6-4135-81EA-074ACD9EA8B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07FE968-5036-450D-AD2D-7FC33C8A671C}">
  <ds:schemaRefs>
    <ds:schemaRef ds:uri="http://schemas.microsoft.com/office/2006/metadata/properties"/>
    <ds:schemaRef ds:uri="http://schemas.microsoft.com/office/infopath/2007/PartnerControls"/>
    <ds:schemaRef ds:uri="1fda619c-f891-459a-86c0-7e00aaa13cfd"/>
    <ds:schemaRef ds:uri="58d3a820-0123-4d66-b4fe-26423cfd9710"/>
  </ds:schemaRefs>
</ds:datastoreItem>
</file>

<file path=customXml/itemProps3.xml><?xml version="1.0" encoding="utf-8"?>
<ds:datastoreItem xmlns:ds="http://schemas.openxmlformats.org/officeDocument/2006/customXml" ds:itemID="{4AF941CD-4EE7-4808-9ABA-F222904333F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8d3a820-0123-4d66-b4fe-26423cfd9710"/>
    <ds:schemaRef ds:uri="1fda619c-f891-459a-86c0-7e00aaa13cf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owerpoint-Region Värmland</Template>
  <TotalTime>4198</TotalTime>
  <Words>379</Words>
  <Application>Microsoft Office PowerPoint</Application>
  <PresentationFormat>Bredbild</PresentationFormat>
  <Paragraphs>84</Paragraphs>
  <Slides>14</Slides>
  <Notes>1</Notes>
  <HiddenSlides>0</HiddenSlides>
  <MMClips>0</MMClips>
  <ScaleCrop>false</ScaleCrop>
  <HeadingPairs>
    <vt:vector size="8" baseType="variant">
      <vt:variant>
        <vt:lpstr>Använt teckensnitt</vt:lpstr>
      </vt:variant>
      <vt:variant>
        <vt:i4>6</vt:i4>
      </vt:variant>
      <vt:variant>
        <vt:lpstr>Tema</vt:lpstr>
      </vt:variant>
      <vt:variant>
        <vt:i4>4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4</vt:i4>
      </vt:variant>
    </vt:vector>
  </HeadingPairs>
  <TitlesOfParts>
    <vt:vector size="25" baseType="lpstr">
      <vt:lpstr>Aptos</vt:lpstr>
      <vt:lpstr>Arial</vt:lpstr>
      <vt:lpstr>Courier New</vt:lpstr>
      <vt:lpstr>Trebuchet MS</vt:lpstr>
      <vt:lpstr>Verdana</vt:lpstr>
      <vt:lpstr>Wingdings</vt:lpstr>
      <vt:lpstr>Region Varmland</vt:lpstr>
      <vt:lpstr>Region Varmland Grå</vt:lpstr>
      <vt:lpstr>Stor rubrik</vt:lpstr>
      <vt:lpstr>Standardformgivning</vt:lpstr>
      <vt:lpstr>think-cell Slide</vt:lpstr>
      <vt:lpstr>Antibiotikasmart region och sjukhus i Värmland</vt:lpstr>
      <vt:lpstr>Tillsammans för ett antibiotikasmart Värmland</vt:lpstr>
      <vt:lpstr>PowerPoint-presentation</vt:lpstr>
      <vt:lpstr>Strategi</vt:lpstr>
      <vt:lpstr>Kommunikationens roll i ett Antibiotikasmart Värmland</vt:lpstr>
      <vt:lpstr>På en antibiotikasmart klinik i Värmland</vt:lpstr>
      <vt:lpstr>2025</vt:lpstr>
      <vt:lpstr>Inspirationsmaterial – patientinvolvering PVK</vt:lpstr>
      <vt:lpstr>Antibiotikarond - informationsplansch </vt:lpstr>
      <vt:lpstr>Antibiotikarond – mall att fylla i </vt:lpstr>
      <vt:lpstr>Antibiotikarond - uppföljning</vt:lpstr>
      <vt:lpstr>På väg mot ett Antibiotikasmart Värmland</vt:lpstr>
      <vt:lpstr>PowerPoint-presentation</vt:lpstr>
      <vt:lpstr>PowerPoint-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Monica Ryd</dc:creator>
  <cp:lastModifiedBy>Anna Wimmerstedt</cp:lastModifiedBy>
  <cp:revision>48</cp:revision>
  <dcterms:created xsi:type="dcterms:W3CDTF">2021-06-21T09:10:06Z</dcterms:created>
  <dcterms:modified xsi:type="dcterms:W3CDTF">2025-12-03T15:49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37B2A405BFC404FA792E5543916DE1B</vt:lpwstr>
  </property>
  <property fmtid="{D5CDD505-2E9C-101B-9397-08002B2CF9AE}" pid="3" name="MediaServiceImageTags">
    <vt:lpwstr/>
  </property>
</Properties>
</file>